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ink/ink1.xml" ContentType="application/inkml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.xml" ContentType="application/vnd.openxmlformats-officedocument.presentationml.tags+xml"/>
  <Override PartName="/ppt/notesSlides/notesSlide11.xml" ContentType="application/vnd.openxmlformats-officedocument.presentationml.notesSlide+xml"/>
  <Override PartName="/ppt/tags/tag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0"/>
  </p:notesMasterIdLst>
  <p:sldIdLst>
    <p:sldId id="439" r:id="rId2"/>
    <p:sldId id="440" r:id="rId3"/>
    <p:sldId id="470" r:id="rId4"/>
    <p:sldId id="492" r:id="rId5"/>
    <p:sldId id="493" r:id="rId6"/>
    <p:sldId id="471" r:id="rId7"/>
    <p:sldId id="472" r:id="rId8"/>
    <p:sldId id="474" r:id="rId9"/>
    <p:sldId id="475" r:id="rId10"/>
    <p:sldId id="476" r:id="rId11"/>
    <p:sldId id="477" r:id="rId12"/>
    <p:sldId id="487" r:id="rId13"/>
    <p:sldId id="488" r:id="rId14"/>
    <p:sldId id="479" r:id="rId15"/>
    <p:sldId id="480" r:id="rId16"/>
    <p:sldId id="481" r:id="rId17"/>
    <p:sldId id="447" r:id="rId18"/>
    <p:sldId id="448" r:id="rId19"/>
    <p:sldId id="449" r:id="rId20"/>
    <p:sldId id="451" r:id="rId21"/>
    <p:sldId id="452" r:id="rId22"/>
    <p:sldId id="453" r:id="rId23"/>
    <p:sldId id="454" r:id="rId24"/>
    <p:sldId id="455" r:id="rId25"/>
    <p:sldId id="486" r:id="rId26"/>
    <p:sldId id="462" r:id="rId27"/>
    <p:sldId id="489" r:id="rId28"/>
    <p:sldId id="464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F1DE49F-F6D4-F341-AD86-A989138F6485}">
          <p14:sldIdLst>
            <p14:sldId id="439"/>
            <p14:sldId id="440"/>
            <p14:sldId id="470"/>
            <p14:sldId id="492"/>
            <p14:sldId id="493"/>
            <p14:sldId id="471"/>
            <p14:sldId id="472"/>
            <p14:sldId id="474"/>
            <p14:sldId id="475"/>
            <p14:sldId id="476"/>
            <p14:sldId id="477"/>
            <p14:sldId id="487"/>
            <p14:sldId id="488"/>
            <p14:sldId id="479"/>
            <p14:sldId id="480"/>
            <p14:sldId id="481"/>
            <p14:sldId id="447"/>
            <p14:sldId id="448"/>
            <p14:sldId id="449"/>
            <p14:sldId id="451"/>
            <p14:sldId id="452"/>
            <p14:sldId id="453"/>
            <p14:sldId id="454"/>
            <p14:sldId id="455"/>
            <p14:sldId id="486"/>
            <p14:sldId id="462"/>
            <p14:sldId id="489"/>
            <p14:sldId id="46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A5"/>
    <a:srgbClr val="FEF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1106" autoAdjust="0"/>
    <p:restoredTop sz="91896" autoAdjust="0"/>
  </p:normalViewPr>
  <p:slideViewPr>
    <p:cSldViewPr snapToGrid="0" snapToObjects="1">
      <p:cViewPr varScale="1">
        <p:scale>
          <a:sx n="71" d="100"/>
          <a:sy n="71" d="100"/>
        </p:scale>
        <p:origin x="318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18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image" Target="../media/image18.w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wmf"/><Relationship Id="rId1" Type="http://schemas.openxmlformats.org/officeDocument/2006/relationships/image" Target="../media/image18.w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26312" units="in"/>
          <inkml:channel name="Y" type="integer" max="16520" units="in"/>
          <inkml:channel name="F" type="integer" max="255" units="dev"/>
        </inkml:traceFormat>
        <inkml:channelProperties>
          <inkml:channelProperty channel="X" name="resolution" value="2540.01343" units="1/in"/>
          <inkml:channelProperty channel="Y" name="resolution" value="2540.36597" units="1/in"/>
          <inkml:channelProperty channel="F" name="resolution" value="0" units="1/dev"/>
        </inkml:channelProperties>
      </inkml:inkSource>
      <inkml:timestamp xml:id="ts0" timeString="2018-10-23T01:00:19.444"/>
    </inkml:context>
    <inkml:brush xml:id="br0">
      <inkml:brushProperty name="width" value="0.03528" units="cm"/>
      <inkml:brushProperty name="height" value="0.03528" units="cm"/>
      <inkml:brushProperty name="fitToCurve" value="1"/>
      <inkml:brushProperty name="ignorePressure" value="1"/>
    </inkml:brush>
  </inkml:definitions>
  <inkml:trace contextRef="#ctx0" brushRef="#br0">7 17 7,'0'0'14,"-7"-17"-2,7 17-16,0 0-8,0 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FFB299-2540-E440-98E9-CAAD9BD919E2}" type="datetimeFigureOut">
              <a:rPr lang="en-US" smtClean="0"/>
              <a:t>11/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63D1F3-E474-F946-B4DE-C58D2CF870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3272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2912F3-1B9D-D249-93E3-D0251D070D7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3575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10+20+5+1200+80)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/ 200 = 6.575</a:t>
            </a:r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.020</a:t>
            </a:r>
            <a:r>
              <a:rPr lang="en-US" dirty="0"/>
              <a:t> /</a:t>
            </a:r>
            <a:r>
              <a:rPr lang="en-US" baseline="0" dirty="0"/>
              <a:t>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.007</a:t>
            </a:r>
            <a:r>
              <a:rPr lang="en-US" dirty="0"/>
              <a:t> / </a:t>
            </a:r>
            <a:r>
              <a:rPr lang="en-US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0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B10D4A-1390-46AE-9C17-9B3925FDB0B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3686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7"/>
          <p:cNvSpPr txBox="1">
            <a:spLocks noGrp="1" noChangeArrowheads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85813" indent="-303213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08088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92275" indent="-242888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4875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20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892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64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36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529DE464-E42D-4F5E-972E-C1AD17795C30}" type="slidenum">
              <a:rPr lang="fr-FR" altLang="en-US" sz="1300"/>
              <a:pPr algn="r" eaLnBrk="1" hangingPunct="1"/>
              <a:t>14</a:t>
            </a:fld>
            <a:endParaRPr lang="fr-FR" altLang="en-US" sz="1300"/>
          </a:p>
        </p:txBody>
      </p:sp>
      <p:sp>
        <p:nvSpPr>
          <p:cNvPr id="59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9396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6480975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 txBox="1">
            <a:spLocks noGrp="1" noChangeArrowheads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85813" indent="-303213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08088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92275" indent="-242888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4875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20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892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64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36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0B33FEDA-A432-4C56-9BC0-E528E46EDF70}" type="slidenum">
              <a:rPr lang="fr-FR" altLang="en-US" sz="1300"/>
              <a:pPr algn="r" eaLnBrk="1" hangingPunct="1"/>
              <a:t>15</a:t>
            </a:fld>
            <a:endParaRPr lang="fr-FR" altLang="en-US" sz="1300"/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1475653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 txBox="1">
            <a:spLocks noGrp="1" noChangeArrowheads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85813" indent="-303213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08088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92275" indent="-242888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4875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20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892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64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36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A773A9D1-0872-45F9-8D0F-A261B5AC0C97}" type="slidenum">
              <a:rPr lang="fr-FR" altLang="en-US" sz="1300"/>
              <a:pPr algn="r" eaLnBrk="1" hangingPunct="1"/>
              <a:t>16</a:t>
            </a:fld>
            <a:endParaRPr lang="fr-FR" altLang="en-US" sz="130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1991945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action type??</a:t>
            </a:r>
          </a:p>
          <a:p>
            <a:r>
              <a:rPr lang="en-US" dirty="0"/>
              <a:t>137 / 275.11</a:t>
            </a:r>
          </a:p>
          <a:p>
            <a:r>
              <a:rPr lang="en-US" dirty="0"/>
              <a:t>49.8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B10D4A-1390-46AE-9C17-9B3925FDB0B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1139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3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36430439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4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24530011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5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22625726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6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480033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7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16634857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8D460AD-B819-B545-895A-10070F34B2D5}" type="slidenum">
              <a:rPr lang="en-US" altLang="x-none"/>
              <a:pPr/>
              <a:t>8</a:t>
            </a:fld>
            <a:endParaRPr lang="en-US" altLang="x-none"/>
          </a:p>
        </p:txBody>
      </p:sp>
      <p:sp>
        <p:nvSpPr>
          <p:cNvPr id="880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80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x-none" altLang="x-none"/>
          </a:p>
        </p:txBody>
      </p:sp>
    </p:spTree>
    <p:extLst>
      <p:ext uri="{BB962C8B-B14F-4D97-AF65-F5344CB8AC3E}">
        <p14:creationId xmlns:p14="http://schemas.microsoft.com/office/powerpoint/2010/main" val="23158569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 txBox="1">
            <a:spLocks noGrp="1" noChangeArrowheads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61" tIns="48331" rIns="96661" bIns="48331" anchor="b"/>
          <a:lstStyle>
            <a:lvl1pPr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85813" indent="-303213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208088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92275" indent="-242888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74875" indent="-241300" defTabSz="96678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6320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892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464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3675" indent="-241300" defTabSz="9667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ED495349-CE05-4E29-A11A-84CD066A86DE}" type="slidenum">
              <a:rPr lang="fr-FR" altLang="en-US" sz="1300"/>
              <a:pPr algn="r" eaLnBrk="1" hangingPunct="1"/>
              <a:t>10</a:t>
            </a:fld>
            <a:endParaRPr lang="fr-FR" altLang="en-US" sz="1300"/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41096467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Different</a:t>
            </a:r>
            <a:r>
              <a:rPr lang="en-US" baseline="0" dirty="0"/>
              <a:t> types of processes have different range of E-factor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B10D4A-1390-46AE-9C17-9B3925FDB0B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671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E9D9CF-F6DA-4BF1-AE00-3B5E3A7840CC}" type="datetime1">
              <a:rPr lang="en-US" smtClean="0"/>
              <a:t>11/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6380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BE3D55-93F9-43C4-ACFB-89251D4C8820}" type="datetime1">
              <a:rPr lang="en-US" smtClean="0"/>
              <a:t>11/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22959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49EC09-926E-411A-BA3A-F3382B395692}" type="datetime1">
              <a:rPr lang="en-US" smtClean="0"/>
              <a:t>11/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421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279926" y="6041708"/>
            <a:ext cx="791804" cy="816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989" y="6004757"/>
            <a:ext cx="1105975" cy="79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1677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6B7270-27BB-4693-ADA0-518695A0E286}" type="datetime1">
              <a:rPr lang="en-US" smtClean="0"/>
              <a:t>11/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129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5D3FF1-AAB0-4542-B5A3-0F5A900165EE}" type="datetime1">
              <a:rPr lang="en-US" smtClean="0"/>
              <a:t>11/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8588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80024D-D7CE-47D8-86D4-3F76B10BCE6B}" type="datetime1">
              <a:rPr lang="en-US" smtClean="0"/>
              <a:t>11/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6150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AC266-7F94-4099-B11F-57A58251E696}" type="datetime1">
              <a:rPr lang="en-US" smtClean="0"/>
              <a:t>11/1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7622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2DD8C-D2A8-4B87-9C85-CD5A53EFBB5F}" type="datetime1">
              <a:rPr lang="en-US" smtClean="0"/>
              <a:t>11/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7834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053815-2B9D-4A6F-8E8B-9C36FE088360}" type="datetime1">
              <a:rPr lang="en-US" smtClean="0"/>
              <a:t>11/1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6077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62AB6-C761-49F8-B0B0-40331FBA9B90}" type="datetime1">
              <a:rPr lang="en-US" smtClean="0"/>
              <a:t>11/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23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774553-B635-4971-892C-B0B629D72E95}" type="datetime1">
              <a:rPr lang="en-US" smtClean="0"/>
              <a:t>11/1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3519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96EE97-230C-4792-A0A4-5F9B7285ADAC}" type="datetime1">
              <a:rPr lang="en-US" smtClean="0"/>
              <a:t>11/1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B0577F-FD3A-4045-8506-FCEBD73AA34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353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6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tiff"/><Relationship Id="rId5" Type="http://schemas.openxmlformats.org/officeDocument/2006/relationships/image" Target="../media/image5.tiff"/><Relationship Id="rId4" Type="http://schemas.openxmlformats.org/officeDocument/2006/relationships/image" Target="../media/image4.tif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6.bin"/><Relationship Id="rId2" Type="http://schemas.openxmlformats.org/officeDocument/2006/relationships/tags" Target="../tags/tag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8.w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7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w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9.bin"/><Relationship Id="rId2" Type="http://schemas.openxmlformats.org/officeDocument/2006/relationships/tags" Target="../tags/tag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8.w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w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11.bin"/><Relationship Id="rId2" Type="http://schemas.openxmlformats.org/officeDocument/2006/relationships/tags" Target="../tags/tag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8.w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0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tiff"/><Relationship Id="rId2" Type="http://schemas.openxmlformats.org/officeDocument/2006/relationships/image" Target="../media/image25.tif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tif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tif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tif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tif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tif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tiff"/><Relationship Id="rId2" Type="http://schemas.openxmlformats.org/officeDocument/2006/relationships/image" Target="../media/image25.tif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png"/><Relationship Id="rId4" Type="http://schemas.openxmlformats.org/officeDocument/2006/relationships/image" Target="../media/image6.tif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notesSlide" Target="../notesSlides/notesSlide2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0.w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notesSlide" Target="../notesSlides/notesSlide5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0.w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notesSlide" Target="../notesSlides/notesSlide6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0.w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0.emf"/><Relationship Id="rId3" Type="http://schemas.openxmlformats.org/officeDocument/2006/relationships/notesSlide" Target="../notesSlides/notesSlide7.xml"/><Relationship Id="rId7" Type="http://schemas.openxmlformats.org/officeDocument/2006/relationships/customXml" Target="../ink/ink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5.png"/><Relationship Id="rId4" Type="http://schemas.openxmlformats.org/officeDocument/2006/relationships/image" Target="../media/image10.wmf"/><Relationship Id="rId9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2">
            <a:extLst>
              <a:ext uri="{FF2B5EF4-FFF2-40B4-BE49-F238E27FC236}">
                <a16:creationId xmlns:a16="http://schemas.microsoft.com/office/drawing/2014/main" id="{D8AEE64A-2CC2-4A7A-B06B-4A92B2EC43DC}"/>
              </a:ext>
            </a:extLst>
          </p:cNvPr>
          <p:cNvSpPr txBox="1">
            <a:spLocks/>
          </p:cNvSpPr>
          <p:nvPr/>
        </p:nvSpPr>
        <p:spPr>
          <a:xfrm>
            <a:off x="1523998" y="1613333"/>
            <a:ext cx="9144000" cy="4213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ea typeface="+mn-ea"/>
                <a:cs typeface="+mn-cs"/>
              </a:rPr>
              <a:t>Metric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6B1D73F-817C-43DB-97A4-82A1ABDE7B42}"/>
              </a:ext>
            </a:extLst>
          </p:cNvPr>
          <p:cNvSpPr txBox="1"/>
          <p:nvPr/>
        </p:nvSpPr>
        <p:spPr>
          <a:xfrm>
            <a:off x="650946" y="6546791"/>
            <a:ext cx="731007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defTabSz="457200"/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: Wikimedia Commons, Life Cycle Thinking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Author: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The National Institute of Standards and Technology (NIST)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BFC0E2-DC87-4F04-A232-BA857E688F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7292" y="2144106"/>
            <a:ext cx="4557412" cy="440268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11649" y="5204193"/>
            <a:ext cx="27341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sz="1200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350" y="4446658"/>
            <a:ext cx="1020198" cy="149629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46191" y="5460687"/>
            <a:ext cx="2643612" cy="68733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30724" y="4341829"/>
            <a:ext cx="2874547" cy="862364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5243B65A-7748-2A41-A117-7EF994700E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674" y="320448"/>
            <a:ext cx="11246129" cy="1210900"/>
          </a:xfrm>
        </p:spPr>
        <p:txBody>
          <a:bodyPr>
            <a:noAutofit/>
          </a:bodyPr>
          <a:lstStyle/>
          <a:p>
            <a:r>
              <a:rPr lang="en-US" sz="4800" dirty="0">
                <a:solidFill>
                  <a:srgbClr val="00728A"/>
                </a:solidFill>
                <a:latin typeface="+mn-lt"/>
              </a:rPr>
              <a:t>Yale-UNIDO Train-the-Facilitator Workshop in Green Chemistry</a:t>
            </a:r>
            <a:endParaRPr lang="en-US" sz="4800" b="1" dirty="0">
              <a:solidFill>
                <a:srgbClr val="00728A"/>
              </a:solidFill>
              <a:latin typeface="+mn-lt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1817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20" name="Rectangle 2"/>
          <p:cNvSpPr>
            <a:spLocks noChangeArrowheads="1"/>
          </p:cNvSpPr>
          <p:nvPr/>
        </p:nvSpPr>
        <p:spPr bwMode="auto">
          <a:xfrm>
            <a:off x="2351088" y="115888"/>
            <a:ext cx="2806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chemeClr val="bg1"/>
                </a:solidFill>
              </a:rPr>
              <a:t>CHEM 462: 9. Atom Economy 1</a:t>
            </a:r>
          </a:p>
        </p:txBody>
      </p:sp>
      <p:sp>
        <p:nvSpPr>
          <p:cNvPr id="60421" name="Rectangle 3"/>
          <p:cNvSpPr>
            <a:spLocks noGrp="1" noChangeArrowheads="1"/>
          </p:cNvSpPr>
          <p:nvPr>
            <p:ph type="title" idx="4294967295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US" altLang="en-US" dirty="0"/>
              <a:t>E-factor</a:t>
            </a:r>
          </a:p>
        </p:txBody>
      </p:sp>
      <p:sp>
        <p:nvSpPr>
          <p:cNvPr id="60422" name="Rectangle 8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666875" y="3068638"/>
            <a:ext cx="7715250" cy="4679950"/>
          </a:xfrm>
          <a:noFill/>
        </p:spPr>
        <p:txBody>
          <a:bodyPr/>
          <a:lstStyle/>
          <a:p>
            <a:pPr eaLnBrk="1" hangingPunct="1"/>
            <a:r>
              <a:rPr lang="en-US" altLang="en-US" dirty="0"/>
              <a:t> Proposed by R. Sheldon in 1992</a:t>
            </a:r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/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graphicFrame>
        <p:nvGraphicFramePr>
          <p:cNvPr id="60424" name="Object 8"/>
          <p:cNvGraphicFramePr>
            <a:graphicFrameLocks noChangeAspect="1"/>
          </p:cNvGraphicFramePr>
          <p:nvPr/>
        </p:nvGraphicFramePr>
        <p:xfrm>
          <a:off x="2640014" y="1773238"/>
          <a:ext cx="6764337" cy="996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8" name="CS ChemDraw Drawing" r:id="rId5" imgW="3373120" imgH="497840" progId="ChemDraw.Document.6.0">
                  <p:embed/>
                </p:oleObj>
              </mc:Choice>
              <mc:Fallback>
                <p:oleObj name="CS ChemDraw Drawing" r:id="rId5" imgW="3373120" imgH="497840" progId="ChemDraw.Document.6.0">
                  <p:embed/>
                  <p:pic>
                    <p:nvPicPr>
                      <p:cNvPr id="60424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40014" y="1773238"/>
                        <a:ext cx="6764337" cy="9969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0425" name="Object 9"/>
          <p:cNvGraphicFramePr>
            <a:graphicFrameLocks noChangeAspect="1"/>
          </p:cNvGraphicFramePr>
          <p:nvPr>
            <p:extLst/>
          </p:nvPr>
        </p:nvGraphicFramePr>
        <p:xfrm>
          <a:off x="2960688" y="3898900"/>
          <a:ext cx="5905500" cy="2624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9" name="CS ChemDraw Drawing" r:id="rId7" imgW="2948411" imgH="1310171" progId="ChemDraw.Document.6.0">
                  <p:embed/>
                </p:oleObj>
              </mc:Choice>
              <mc:Fallback>
                <p:oleObj name="CS ChemDraw Drawing" r:id="rId7" imgW="2948411" imgH="1310171" progId="ChemDraw.Document.6.0">
                  <p:embed/>
                  <p:pic>
                    <p:nvPicPr>
                      <p:cNvPr id="60425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60688" y="3898900"/>
                        <a:ext cx="5905500" cy="26241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cale8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8222268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1039532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E-factor</a:t>
            </a:r>
            <a:endParaRPr lang="en-CA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en-CA" dirty="0"/>
              <a:t>Classical synthesis of </a:t>
            </a:r>
            <a:r>
              <a:rPr lang="en-CA" dirty="0" err="1"/>
              <a:t>phloroglucinol</a:t>
            </a:r>
            <a:r>
              <a:rPr lang="en-CA" dirty="0"/>
              <a:t>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/>
          <a:srcRect l="9005" t="27084" r="51757" b="33593"/>
          <a:stretch/>
        </p:blipFill>
        <p:spPr>
          <a:xfrm>
            <a:off x="3345873" y="2381250"/>
            <a:ext cx="5105401" cy="287655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967345" y="5410884"/>
            <a:ext cx="69480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dirty="0"/>
              <a:t>Compound masses are expressed in gram per mol.</a:t>
            </a:r>
          </a:p>
        </p:txBody>
      </p:sp>
      <p:sp>
        <p:nvSpPr>
          <p:cNvPr id="7" name="Scale8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8222268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5254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09957"/>
            <a:ext cx="10515600" cy="646331"/>
          </a:xfrm>
        </p:spPr>
        <p:txBody>
          <a:bodyPr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Environmental Factor (E-Factor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06905" y="1416651"/>
            <a:ext cx="8949490" cy="2369367"/>
          </a:xfrm>
        </p:spPr>
        <p:txBody>
          <a:bodyPr wrap="square">
            <a:spAutoFit/>
          </a:bodyPr>
          <a:lstStyle/>
          <a:p>
            <a:r>
              <a:rPr lang="en-US" sz="2400" dirty="0">
                <a:latin typeface="+mn-lt"/>
              </a:rPr>
              <a:t>Depends on the definition of waste</a:t>
            </a:r>
          </a:p>
          <a:p>
            <a:pPr lvl="1"/>
            <a:r>
              <a:rPr lang="en-US" sz="2000" dirty="0">
                <a:latin typeface="+mn-lt"/>
              </a:rPr>
              <a:t>Non-recoverable starting materials, solvent, catalysts.</a:t>
            </a:r>
          </a:p>
          <a:p>
            <a:pPr lvl="1"/>
            <a:r>
              <a:rPr lang="en-US" sz="2000" dirty="0">
                <a:latin typeface="+mn-lt"/>
              </a:rPr>
              <a:t>Undesired side products.</a:t>
            </a:r>
          </a:p>
          <a:p>
            <a:r>
              <a:rPr lang="en-US" sz="2400" dirty="0">
                <a:latin typeface="+mn-lt"/>
              </a:rPr>
              <a:t>Smaller E-factor means closer to zero waste</a:t>
            </a:r>
          </a:p>
          <a:p>
            <a:r>
              <a:rPr lang="en-US" sz="2400" dirty="0">
                <a:latin typeface="+mn-lt"/>
              </a:rPr>
              <a:t>E-factor can be used to estimate/calculate the total waste generated:</a:t>
            </a:r>
          </a:p>
          <a:p>
            <a:pPr lvl="1"/>
            <a:r>
              <a:rPr lang="en-US" sz="2000" dirty="0">
                <a:latin typeface="+mn-lt"/>
              </a:rPr>
              <a:t>Amount of Waste = Amount of Product x E-factor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1962150" y="4657724"/>
          <a:ext cx="8267700" cy="1676400"/>
        </p:xfrm>
        <a:graphic>
          <a:graphicData uri="http://schemas.openxmlformats.org/drawingml/2006/table">
            <a:tbl>
              <a:tblPr/>
              <a:tblGrid>
                <a:gridCol w="20669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669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669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669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Industry sector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Annual production (t)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E-factor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Waste produced (t)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Oil refining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10</a:t>
                      </a:r>
                      <a:r>
                        <a:rPr lang="en-US" sz="1600" baseline="30000">
                          <a:effectLst/>
                        </a:rPr>
                        <a:t>6</a:t>
                      </a:r>
                      <a:r>
                        <a:rPr lang="en-US" sz="1600">
                          <a:effectLst/>
                        </a:rPr>
                        <a:t>-10</a:t>
                      </a:r>
                      <a:r>
                        <a:rPr lang="en-US" sz="1600" baseline="30000">
                          <a:effectLst/>
                        </a:rPr>
                        <a:t>8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Ca. 0.1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0</a:t>
                      </a:r>
                      <a:r>
                        <a:rPr lang="en-US" sz="1600" baseline="30000" dirty="0">
                          <a:effectLst/>
                        </a:rPr>
                        <a:t>5   </a:t>
                      </a:r>
                      <a:r>
                        <a:rPr lang="en-US" sz="1600" dirty="0">
                          <a:effectLst/>
                        </a:rPr>
                        <a:t>–   10</a:t>
                      </a:r>
                      <a:r>
                        <a:rPr lang="en-US" sz="1600" baseline="30000" dirty="0">
                          <a:effectLst/>
                        </a:rPr>
                        <a:t>7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Bulk chemicals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10</a:t>
                      </a:r>
                      <a:r>
                        <a:rPr lang="en-US" sz="1600" baseline="30000">
                          <a:effectLst/>
                        </a:rPr>
                        <a:t>4</a:t>
                      </a:r>
                      <a:r>
                        <a:rPr lang="en-US" sz="1600">
                          <a:effectLst/>
                        </a:rPr>
                        <a:t>-10</a:t>
                      </a:r>
                      <a:r>
                        <a:rPr lang="en-US" sz="1600" baseline="30000">
                          <a:effectLst/>
                        </a:rPr>
                        <a:t>6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&lt;1–5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0</a:t>
                      </a:r>
                      <a:r>
                        <a:rPr lang="en-US" sz="1600" baseline="30000" dirty="0">
                          <a:effectLst/>
                        </a:rPr>
                        <a:t>4   </a:t>
                      </a:r>
                      <a:r>
                        <a:rPr lang="en-US" sz="1600" dirty="0">
                          <a:effectLst/>
                        </a:rPr>
                        <a:t>–   5 × 10</a:t>
                      </a:r>
                      <a:r>
                        <a:rPr lang="en-US" sz="1600" baseline="30000" dirty="0">
                          <a:effectLst/>
                        </a:rPr>
                        <a:t>6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Fine chemicals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10</a:t>
                      </a:r>
                      <a:r>
                        <a:rPr lang="en-US" sz="1600" baseline="30000" dirty="0">
                          <a:effectLst/>
                        </a:rPr>
                        <a:t>2</a:t>
                      </a:r>
                      <a:r>
                        <a:rPr lang="en-US" sz="1600" dirty="0">
                          <a:effectLst/>
                        </a:rPr>
                        <a:t>−10</a:t>
                      </a:r>
                      <a:r>
                        <a:rPr lang="en-US" sz="1600" baseline="30000" dirty="0">
                          <a:effectLst/>
                        </a:rPr>
                        <a:t>4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5–50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5 × 10</a:t>
                      </a:r>
                      <a:r>
                        <a:rPr lang="en-US" sz="1600" baseline="30000" dirty="0">
                          <a:effectLst/>
                        </a:rPr>
                        <a:t>2   </a:t>
                      </a:r>
                      <a:r>
                        <a:rPr lang="en-US" sz="1600" dirty="0">
                          <a:effectLst/>
                        </a:rPr>
                        <a:t>−   5 × 10</a:t>
                      </a:r>
                      <a:r>
                        <a:rPr lang="en-US" sz="1600" baseline="30000" dirty="0">
                          <a:effectLst/>
                        </a:rPr>
                        <a:t>5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Pharmaceuticals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10–10</a:t>
                      </a:r>
                      <a:r>
                        <a:rPr lang="en-US" sz="1600" baseline="30000">
                          <a:effectLst/>
                        </a:rPr>
                        <a:t>3</a:t>
                      </a:r>
                      <a:endParaRPr lang="en-US" sz="160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effectLst/>
                        </a:rPr>
                        <a:t>25–100</a:t>
                      </a: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effectLst/>
                        </a:rPr>
                        <a:t>2.5 × 10</a:t>
                      </a:r>
                      <a:r>
                        <a:rPr lang="en-US" sz="1600" baseline="30000" dirty="0">
                          <a:effectLst/>
                        </a:rPr>
                        <a:t>2   </a:t>
                      </a:r>
                      <a:r>
                        <a:rPr lang="en-US" sz="1600" dirty="0">
                          <a:effectLst/>
                        </a:rPr>
                        <a:t>−   10</a:t>
                      </a:r>
                      <a:r>
                        <a:rPr lang="en-US" sz="1600" baseline="30000" dirty="0">
                          <a:effectLst/>
                        </a:rPr>
                        <a:t>5</a:t>
                      </a:r>
                      <a:endParaRPr lang="en-US" sz="1600" dirty="0">
                        <a:effectLst/>
                      </a:endParaRPr>
                    </a:p>
                  </a:txBody>
                  <a:tcPr anchor="ctr">
                    <a:lnL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AAAAA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F9F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3048000" y="3957880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1" algn="ctr"/>
            <a:r>
              <a:rPr lang="en-US" sz="2800" b="1" dirty="0"/>
              <a:t>E-factor = total waste (g) / product (g)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CBE8621-F6BD-47AD-A570-790EDDEA7248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56796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152650" y="238997"/>
            <a:ext cx="7886700" cy="646331"/>
          </a:xfrm>
        </p:spPr>
        <p:txBody>
          <a:bodyPr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E-Factor Example</a:t>
            </a:r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/>
          </p:nvPr>
        </p:nvGraphicFramePr>
        <p:xfrm>
          <a:off x="3824457" y="2165611"/>
          <a:ext cx="5141393" cy="14794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0" name="CS ChemDraw Drawing" r:id="rId4" imgW="4613029" imgH="1327341" progId="ChemDraw.Document.6.0">
                  <p:embed/>
                </p:oleObj>
              </mc:Choice>
              <mc:Fallback>
                <p:oleObj name="CS ChemDraw Drawing" r:id="rId4" imgW="4613029" imgH="1327341" progId="ChemDraw.Document.6.0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4457" y="2165611"/>
                        <a:ext cx="5141393" cy="14794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650651" y="1291616"/>
            <a:ext cx="41626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err="1"/>
              <a:t>Friedel</a:t>
            </a:r>
            <a:r>
              <a:rPr lang="en-US" sz="2000" b="1" dirty="0"/>
              <a:t>-Craft Alkylation (Substitution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650651" y="1684083"/>
            <a:ext cx="6460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ll</a:t>
            </a:r>
            <a:r>
              <a:rPr lang="en-US" b="1" dirty="0"/>
              <a:t> </a:t>
            </a:r>
            <a:r>
              <a:rPr lang="en-US" dirty="0"/>
              <a:t>numbers</a:t>
            </a:r>
            <a:r>
              <a:rPr lang="en-US" b="1" dirty="0"/>
              <a:t> </a:t>
            </a:r>
            <a:r>
              <a:rPr lang="en-US" dirty="0"/>
              <a:t>represent the mass of the chemical</a:t>
            </a:r>
            <a:r>
              <a:rPr lang="en-US" b="1" dirty="0"/>
              <a:t> </a:t>
            </a:r>
            <a:r>
              <a:rPr lang="en-US" b="1" u="sng" dirty="0"/>
              <a:t>after</a:t>
            </a:r>
            <a:r>
              <a:rPr lang="en-US" b="1" dirty="0"/>
              <a:t> </a:t>
            </a:r>
            <a:r>
              <a:rPr lang="en-US" dirty="0"/>
              <a:t>the</a:t>
            </a:r>
            <a:r>
              <a:rPr lang="en-US" b="1" dirty="0"/>
              <a:t> </a:t>
            </a:r>
            <a:r>
              <a:rPr lang="en-US" dirty="0"/>
              <a:t>reaction.</a:t>
            </a: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773946" y="4001264"/>
          <a:ext cx="9923122" cy="7644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67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66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32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503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243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243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2676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52064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Phenol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 err="1">
                          <a:effectLst/>
                        </a:rPr>
                        <a:t>Chloroethane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Catalyst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Solvent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4-Ethylphenol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2-Ethylphenol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effectLst/>
                        </a:rPr>
                        <a:t>E-Factor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5657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0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5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200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80 g</a:t>
                      </a:r>
                      <a:endParaRPr lang="en-US" sz="20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200 g</a:t>
                      </a:r>
                      <a:endParaRPr lang="en-US" sz="2000" b="0" i="0" u="none" strike="noStrike" dirty="0">
                        <a:solidFill>
                          <a:srgbClr val="0061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6.575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7286250" y="4844396"/>
            <a:ext cx="41809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/>
            <a:r>
              <a:rPr lang="en-US" dirty="0"/>
              <a:t>E-factor = total waste (g) / product (g)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E415560-32EB-43DD-9526-9EC1D43A142F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2"/>
          <p:cNvGraphicFramePr>
            <a:graphicFrameLocks noGrp="1"/>
          </p:cNvGraphicFramePr>
          <p:nvPr>
            <p:extLst/>
          </p:nvPr>
        </p:nvGraphicFramePr>
        <p:xfrm>
          <a:off x="688369" y="5300451"/>
          <a:ext cx="5981432" cy="1229449"/>
        </p:xfrm>
        <a:graphic>
          <a:graphicData uri="http://schemas.openxmlformats.org/drawingml/2006/table">
            <a:tbl>
              <a:tblPr firstRow="1">
                <a:tableStyleId>{93296810-A885-4BE3-A3E7-6D5BEEA58F35}</a:tableStyleId>
              </a:tblPr>
              <a:tblGrid>
                <a:gridCol w="1993186">
                  <a:extLst>
                    <a:ext uri="{9D8B030D-6E8A-4147-A177-3AD203B41FA5}">
                      <a16:colId xmlns:a16="http://schemas.microsoft.com/office/drawing/2014/main" val="4132764065"/>
                    </a:ext>
                  </a:extLst>
                </a:gridCol>
                <a:gridCol w="2521372">
                  <a:extLst>
                    <a:ext uri="{9D8B030D-6E8A-4147-A177-3AD203B41FA5}">
                      <a16:colId xmlns:a16="http://schemas.microsoft.com/office/drawing/2014/main" val="289607281"/>
                    </a:ext>
                  </a:extLst>
                </a:gridCol>
                <a:gridCol w="1466874">
                  <a:extLst>
                    <a:ext uri="{9D8B030D-6E8A-4147-A177-3AD203B41FA5}">
                      <a16:colId xmlns:a16="http://schemas.microsoft.com/office/drawing/2014/main" val="2500107494"/>
                    </a:ext>
                  </a:extLst>
                </a:gridCol>
              </a:tblGrid>
              <a:tr h="463351">
                <a:tc>
                  <a:txBody>
                    <a:bodyPr/>
                    <a:lstStyle/>
                    <a:p>
                      <a:pPr algn="ctr" fontAlgn="b"/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At 10 g scal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u="none" strike="noStrike" dirty="0">
                          <a:effectLst/>
                        </a:rPr>
                        <a:t>3-ton scal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958901418"/>
                  </a:ext>
                </a:extLst>
              </a:tr>
              <a:tr h="352906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Desired</a:t>
                      </a:r>
                      <a:r>
                        <a:rPr lang="en-US" sz="2000" u="none" strike="noStrike" baseline="0" dirty="0">
                          <a:effectLst/>
                        </a:rPr>
                        <a:t> product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200 g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3 ton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55423180"/>
                  </a:ext>
                </a:extLst>
              </a:tr>
              <a:tr h="413192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u="none" strike="noStrike" dirty="0">
                          <a:effectLst/>
                        </a:rPr>
                        <a:t>Waste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315g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u="none" strike="noStrike" dirty="0">
                          <a:effectLst/>
                        </a:rPr>
                        <a:t>19.725 ton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37977995"/>
                  </a:ext>
                </a:extLst>
              </a:tr>
            </a:tbl>
          </a:graphicData>
        </a:graphic>
      </p:graphicFrame>
      <p:sp>
        <p:nvSpPr>
          <p:cNvPr id="4" name="Left Arrow Callout 3"/>
          <p:cNvSpPr/>
          <p:nvPr/>
        </p:nvSpPr>
        <p:spPr>
          <a:xfrm>
            <a:off x="6780944" y="5965127"/>
            <a:ext cx="5024063" cy="725001"/>
          </a:xfrm>
          <a:prstGeom prst="leftArrowCallou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ndustrial reactions are run on the big scale</a:t>
            </a:r>
          </a:p>
        </p:txBody>
      </p:sp>
    </p:spTree>
    <p:extLst>
      <p:ext uri="{BB962C8B-B14F-4D97-AF65-F5344CB8AC3E}">
        <p14:creationId xmlns:p14="http://schemas.microsoft.com/office/powerpoint/2010/main" val="21742576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2" name="Rectangle 2"/>
          <p:cNvSpPr>
            <a:spLocks noChangeArrowheads="1"/>
          </p:cNvSpPr>
          <p:nvPr/>
        </p:nvSpPr>
        <p:spPr bwMode="auto">
          <a:xfrm>
            <a:off x="2351088" y="115888"/>
            <a:ext cx="2806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chemeClr val="bg1"/>
                </a:solidFill>
              </a:rPr>
              <a:t>CHEM 462: 9. Atom Economy 1</a:t>
            </a:r>
          </a:p>
        </p:txBody>
      </p:sp>
      <p:sp>
        <p:nvSpPr>
          <p:cNvPr id="58373" name="Rectangle 3"/>
          <p:cNvSpPr>
            <a:spLocks noGrp="1" noChangeArrowheads="1"/>
          </p:cNvSpPr>
          <p:nvPr>
            <p:ph type="title" idx="4294967295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US" altLang="en-US" dirty="0"/>
              <a:t>Process Mass intensity (PMI)</a:t>
            </a:r>
          </a:p>
        </p:txBody>
      </p:sp>
      <p:sp>
        <p:nvSpPr>
          <p:cNvPr id="58374" name="Rectangle 8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666875" y="3068638"/>
            <a:ext cx="7715250" cy="4679950"/>
          </a:xfrm>
          <a:noFill/>
        </p:spPr>
        <p:txBody>
          <a:bodyPr/>
          <a:lstStyle/>
          <a:p>
            <a:pPr eaLnBrk="1" hangingPunct="1"/>
            <a:r>
              <a:rPr lang="en-US" altLang="en-US" dirty="0"/>
              <a:t> Mass Intensity=e-factor + 1</a:t>
            </a:r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/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graphicFrame>
        <p:nvGraphicFramePr>
          <p:cNvPr id="58376" name="Object 8"/>
          <p:cNvGraphicFramePr>
            <a:graphicFrameLocks noChangeAspect="1"/>
          </p:cNvGraphicFramePr>
          <p:nvPr/>
        </p:nvGraphicFramePr>
        <p:xfrm>
          <a:off x="2640014" y="1773238"/>
          <a:ext cx="6764337" cy="996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2" name="CS ChemDraw Drawing" r:id="rId5" imgW="3373120" imgH="497840" progId="ChemDraw.Document.6.0">
                  <p:embed/>
                </p:oleObj>
              </mc:Choice>
              <mc:Fallback>
                <p:oleObj name="CS ChemDraw Drawing" r:id="rId5" imgW="3373120" imgH="497840" progId="ChemDraw.Document.6.0">
                  <p:embed/>
                  <p:pic>
                    <p:nvPicPr>
                      <p:cNvPr id="58376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40014" y="1773238"/>
                        <a:ext cx="6764337" cy="9969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8379" name="Object 11"/>
          <p:cNvGraphicFramePr>
            <a:graphicFrameLocks noChangeAspect="1"/>
          </p:cNvGraphicFramePr>
          <p:nvPr/>
        </p:nvGraphicFramePr>
        <p:xfrm>
          <a:off x="2927351" y="4076701"/>
          <a:ext cx="5686425" cy="18907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3" name="CS ChemDraw Drawing" r:id="rId7" imgW="2849880" imgH="947420" progId="ChemDraw.Document.6.0">
                  <p:embed/>
                </p:oleObj>
              </mc:Choice>
              <mc:Fallback>
                <p:oleObj name="CS ChemDraw Drawing" r:id="rId7" imgW="2849880" imgH="947420" progId="ChemDraw.Document.6.0">
                  <p:embed/>
                  <p:pic>
                    <p:nvPicPr>
                      <p:cNvPr id="58379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27351" y="4076701"/>
                        <a:ext cx="5686425" cy="18907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cale8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8222268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890088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4" name="Rectangle 2"/>
          <p:cNvSpPr>
            <a:spLocks noChangeArrowheads="1"/>
          </p:cNvSpPr>
          <p:nvPr/>
        </p:nvSpPr>
        <p:spPr bwMode="auto">
          <a:xfrm>
            <a:off x="2351088" y="115888"/>
            <a:ext cx="2806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chemeClr val="bg1"/>
                </a:solidFill>
              </a:rPr>
              <a:t>CHEM 462: 9. Atom Economy 1</a:t>
            </a:r>
          </a:p>
        </p:txBody>
      </p:sp>
      <p:sp>
        <p:nvSpPr>
          <p:cNvPr id="56325" name="Rectangle 3"/>
          <p:cNvSpPr>
            <a:spLocks noGrp="1" noChangeArrowheads="1"/>
          </p:cNvSpPr>
          <p:nvPr>
            <p:ph type="title" idx="4294967295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US" altLang="en-US" dirty="0"/>
              <a:t>Atom Efficiency/Economy (AE)</a:t>
            </a:r>
          </a:p>
        </p:txBody>
      </p:sp>
      <p:sp>
        <p:nvSpPr>
          <p:cNvPr id="56326" name="Rectangle 8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666875" y="3068638"/>
            <a:ext cx="7715250" cy="4679950"/>
          </a:xfrm>
          <a:noFill/>
        </p:spPr>
        <p:txBody>
          <a:bodyPr/>
          <a:lstStyle/>
          <a:p>
            <a:pPr eaLnBrk="1" hangingPunct="1"/>
            <a:r>
              <a:rPr lang="en-US" altLang="en-US" dirty="0"/>
              <a:t>Proposed by Barry </a:t>
            </a:r>
            <a:r>
              <a:rPr lang="en-US" altLang="en-US" dirty="0" err="1"/>
              <a:t>Trost</a:t>
            </a:r>
            <a:r>
              <a:rPr lang="en-US" altLang="en-US" dirty="0"/>
              <a:t> in 1991</a:t>
            </a:r>
          </a:p>
          <a:p>
            <a:pPr eaLnBrk="1" hangingPunct="1"/>
            <a:endParaRPr lang="en-US" altLang="en-US" dirty="0"/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/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graphicFrame>
        <p:nvGraphicFramePr>
          <p:cNvPr id="56329" name="Object 9"/>
          <p:cNvGraphicFramePr>
            <a:graphicFrameLocks noChangeAspect="1"/>
          </p:cNvGraphicFramePr>
          <p:nvPr/>
        </p:nvGraphicFramePr>
        <p:xfrm>
          <a:off x="2640014" y="1773238"/>
          <a:ext cx="6764337" cy="996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6" name="CS ChemDraw Drawing" r:id="rId5" imgW="3373120" imgH="497840" progId="ChemDraw.Document.6.0">
                  <p:embed/>
                </p:oleObj>
              </mc:Choice>
              <mc:Fallback>
                <p:oleObj name="CS ChemDraw Drawing" r:id="rId5" imgW="3373120" imgH="497840" progId="ChemDraw.Document.6.0">
                  <p:embed/>
                  <p:pic>
                    <p:nvPicPr>
                      <p:cNvPr id="56329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40014" y="1773238"/>
                        <a:ext cx="6764337" cy="9969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6330" name="Object 10"/>
          <p:cNvGraphicFramePr>
            <a:graphicFrameLocks noChangeAspect="1"/>
          </p:cNvGraphicFramePr>
          <p:nvPr/>
        </p:nvGraphicFramePr>
        <p:xfrm>
          <a:off x="3000376" y="3860800"/>
          <a:ext cx="5191125" cy="1809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7" name="CS ChemDraw Drawing" r:id="rId7" imgW="2585720" imgH="901700" progId="ChemDraw.Document.6.0">
                  <p:embed/>
                </p:oleObj>
              </mc:Choice>
              <mc:Fallback>
                <p:oleObj name="CS ChemDraw Drawing" r:id="rId7" imgW="2585720" imgH="901700" progId="ChemDraw.Document.6.0">
                  <p:embed/>
                  <p:pic>
                    <p:nvPicPr>
                      <p:cNvPr id="5633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00376" y="3860800"/>
                        <a:ext cx="5191125" cy="1809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1626612" y="6474024"/>
            <a:ext cx="83555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Calv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‐Flores, F.G. "Sustainable chemistry metrics."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ChemSusChe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2.10 (2009): 905-919.</a:t>
            </a:r>
          </a:p>
        </p:txBody>
      </p:sp>
      <p:sp>
        <p:nvSpPr>
          <p:cNvPr id="11" name="Scale8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8222268" y="159006"/>
            <a:ext cx="1431320" cy="1258632"/>
          </a:xfrm>
          <a:custGeom>
            <a:avLst/>
            <a:gdLst>
              <a:gd name="T0" fmla="*/ 2286 w 3994"/>
              <a:gd name="T1" fmla="*/ 239 h 3506"/>
              <a:gd name="T2" fmla="*/ 1598 w 3994"/>
              <a:gd name="T3" fmla="*/ 405 h 3506"/>
              <a:gd name="T4" fmla="*/ 664 w 3994"/>
              <a:gd name="T5" fmla="*/ 887 h 3506"/>
              <a:gd name="T6" fmla="*/ 207 w 3994"/>
              <a:gd name="T7" fmla="*/ 2147 h 3506"/>
              <a:gd name="T8" fmla="*/ 438 w 3994"/>
              <a:gd name="T9" fmla="*/ 2561 h 3506"/>
              <a:gd name="T10" fmla="*/ 1750 w 3994"/>
              <a:gd name="T11" fmla="*/ 2147 h 3506"/>
              <a:gd name="T12" fmla="*/ 948 w 3994"/>
              <a:gd name="T13" fmla="*/ 819 h 3506"/>
              <a:gd name="T14" fmla="*/ 1846 w 3994"/>
              <a:gd name="T15" fmla="*/ 797 h 3506"/>
              <a:gd name="T16" fmla="*/ 221 w 3994"/>
              <a:gd name="T17" fmla="*/ 3006 h 3506"/>
              <a:gd name="T18" fmla="*/ 3721 w 3994"/>
              <a:gd name="T19" fmla="*/ 3506 h 3506"/>
              <a:gd name="T20" fmla="*/ 2096 w 3994"/>
              <a:gd name="T21" fmla="*/ 3006 h 3506"/>
              <a:gd name="T22" fmla="*/ 2344 w 3994"/>
              <a:gd name="T23" fmla="*/ 482 h 3506"/>
              <a:gd name="T24" fmla="*/ 2456 w 3994"/>
              <a:gd name="T25" fmla="*/ 1611 h 3506"/>
              <a:gd name="T26" fmla="*/ 2681 w 3994"/>
              <a:gd name="T27" fmla="*/ 2025 h 3506"/>
              <a:gd name="T28" fmla="*/ 3994 w 3994"/>
              <a:gd name="T29" fmla="*/ 1611 h 3506"/>
              <a:gd name="T30" fmla="*/ 3171 w 3994"/>
              <a:gd name="T31" fmla="*/ 283 h 3506"/>
              <a:gd name="T32" fmla="*/ 3279 w 3994"/>
              <a:gd name="T33" fmla="*/ 0 h 3506"/>
              <a:gd name="T34" fmla="*/ 3628 w 3994"/>
              <a:gd name="T35" fmla="*/ 1611 h 3506"/>
              <a:gd name="T36" fmla="*/ 3274 w 3994"/>
              <a:gd name="T37" fmla="*/ 1299 h 3506"/>
              <a:gd name="T38" fmla="*/ 3197 w 3994"/>
              <a:gd name="T39" fmla="*/ 1261 h 3506"/>
              <a:gd name="T40" fmla="*/ 3119 w 3994"/>
              <a:gd name="T41" fmla="*/ 1212 h 3506"/>
              <a:gd name="T42" fmla="*/ 3038 w 3994"/>
              <a:gd name="T43" fmla="*/ 1263 h 3506"/>
              <a:gd name="T44" fmla="*/ 2956 w 3994"/>
              <a:gd name="T45" fmla="*/ 1299 h 3506"/>
              <a:gd name="T46" fmla="*/ 2593 w 3994"/>
              <a:gd name="T47" fmla="*/ 1611 h 3506"/>
              <a:gd name="T48" fmla="*/ 875 w 3994"/>
              <a:gd name="T49" fmla="*/ 961 h 3506"/>
              <a:gd name="T50" fmla="*/ 1119 w 3994"/>
              <a:gd name="T51" fmla="*/ 2147 h 3506"/>
              <a:gd name="T52" fmla="*/ 952 w 3994"/>
              <a:gd name="T53" fmla="*/ 1689 h 3506"/>
              <a:gd name="T54" fmla="*/ 997 w 3994"/>
              <a:gd name="T55" fmla="*/ 1621 h 3506"/>
              <a:gd name="T56" fmla="*/ 863 w 3994"/>
              <a:gd name="T57" fmla="*/ 1552 h 3506"/>
              <a:gd name="T58" fmla="*/ 794 w 3994"/>
              <a:gd name="T59" fmla="*/ 1689 h 3506"/>
              <a:gd name="T60" fmla="*/ 619 w 3994"/>
              <a:gd name="T61" fmla="*/ 2147 h 3506"/>
              <a:gd name="T62" fmla="*/ 875 w 3994"/>
              <a:gd name="T63" fmla="*/ 961 h 3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994" h="3506">
                <a:moveTo>
                  <a:pt x="3279" y="0"/>
                </a:moveTo>
                <a:lnTo>
                  <a:pt x="2286" y="239"/>
                </a:lnTo>
                <a:cubicBezTo>
                  <a:pt x="2216" y="133"/>
                  <a:pt x="2098" y="69"/>
                  <a:pt x="1971" y="69"/>
                </a:cubicBezTo>
                <a:cubicBezTo>
                  <a:pt x="1779" y="69"/>
                  <a:pt x="1618" y="214"/>
                  <a:pt x="1598" y="405"/>
                </a:cubicBezTo>
                <a:lnTo>
                  <a:pt x="605" y="644"/>
                </a:lnTo>
                <a:lnTo>
                  <a:pt x="664" y="887"/>
                </a:lnTo>
                <a:lnTo>
                  <a:pt x="784" y="859"/>
                </a:lnTo>
                <a:lnTo>
                  <a:pt x="207" y="2147"/>
                </a:lnTo>
                <a:lnTo>
                  <a:pt x="0" y="2147"/>
                </a:lnTo>
                <a:cubicBezTo>
                  <a:pt x="0" y="2318"/>
                  <a:pt x="167" y="2476"/>
                  <a:pt x="438" y="2561"/>
                </a:cubicBezTo>
                <a:cubicBezTo>
                  <a:pt x="708" y="2647"/>
                  <a:pt x="1042" y="2647"/>
                  <a:pt x="1313" y="2561"/>
                </a:cubicBezTo>
                <a:cubicBezTo>
                  <a:pt x="1583" y="2476"/>
                  <a:pt x="1750" y="2318"/>
                  <a:pt x="1750" y="2147"/>
                </a:cubicBezTo>
                <a:lnTo>
                  <a:pt x="1543" y="2147"/>
                </a:lnTo>
                <a:lnTo>
                  <a:pt x="948" y="819"/>
                </a:lnTo>
                <a:lnTo>
                  <a:pt x="1657" y="648"/>
                </a:lnTo>
                <a:cubicBezTo>
                  <a:pt x="1702" y="717"/>
                  <a:pt x="1769" y="769"/>
                  <a:pt x="1846" y="797"/>
                </a:cubicBezTo>
                <a:lnTo>
                  <a:pt x="1846" y="3006"/>
                </a:lnTo>
                <a:lnTo>
                  <a:pt x="221" y="3006"/>
                </a:lnTo>
                <a:lnTo>
                  <a:pt x="221" y="3506"/>
                </a:lnTo>
                <a:lnTo>
                  <a:pt x="3721" y="3506"/>
                </a:lnTo>
                <a:lnTo>
                  <a:pt x="3721" y="3006"/>
                </a:lnTo>
                <a:lnTo>
                  <a:pt x="2096" y="3006"/>
                </a:lnTo>
                <a:lnTo>
                  <a:pt x="2096" y="797"/>
                </a:lnTo>
                <a:cubicBezTo>
                  <a:pt x="2233" y="749"/>
                  <a:pt x="2329" y="626"/>
                  <a:pt x="2344" y="482"/>
                </a:cubicBezTo>
                <a:lnTo>
                  <a:pt x="3035" y="316"/>
                </a:lnTo>
                <a:lnTo>
                  <a:pt x="2456" y="1611"/>
                </a:lnTo>
                <a:lnTo>
                  <a:pt x="2244" y="1611"/>
                </a:lnTo>
                <a:cubicBezTo>
                  <a:pt x="2244" y="1782"/>
                  <a:pt x="2411" y="1939"/>
                  <a:pt x="2681" y="2025"/>
                </a:cubicBezTo>
                <a:cubicBezTo>
                  <a:pt x="2952" y="2110"/>
                  <a:pt x="3286" y="2110"/>
                  <a:pt x="3556" y="2025"/>
                </a:cubicBezTo>
                <a:cubicBezTo>
                  <a:pt x="3827" y="1939"/>
                  <a:pt x="3994" y="1782"/>
                  <a:pt x="3994" y="1611"/>
                </a:cubicBezTo>
                <a:lnTo>
                  <a:pt x="3765" y="1611"/>
                </a:lnTo>
                <a:lnTo>
                  <a:pt x="3171" y="283"/>
                </a:lnTo>
                <a:lnTo>
                  <a:pt x="3337" y="243"/>
                </a:lnTo>
                <a:lnTo>
                  <a:pt x="3279" y="0"/>
                </a:lnTo>
                <a:close/>
                <a:moveTo>
                  <a:pt x="3110" y="454"/>
                </a:moveTo>
                <a:lnTo>
                  <a:pt x="3628" y="1611"/>
                </a:lnTo>
                <a:lnTo>
                  <a:pt x="3274" y="1611"/>
                </a:lnTo>
                <a:lnTo>
                  <a:pt x="3274" y="1299"/>
                </a:lnTo>
                <a:lnTo>
                  <a:pt x="3168" y="1299"/>
                </a:lnTo>
                <a:cubicBezTo>
                  <a:pt x="3187" y="1289"/>
                  <a:pt x="3197" y="1275"/>
                  <a:pt x="3197" y="1261"/>
                </a:cubicBezTo>
                <a:lnTo>
                  <a:pt x="3197" y="1256"/>
                </a:lnTo>
                <a:cubicBezTo>
                  <a:pt x="3193" y="1231"/>
                  <a:pt x="3160" y="1212"/>
                  <a:pt x="3119" y="1212"/>
                </a:cubicBezTo>
                <a:cubicBezTo>
                  <a:pt x="3117" y="1212"/>
                  <a:pt x="3114" y="1212"/>
                  <a:pt x="3112" y="1212"/>
                </a:cubicBezTo>
                <a:cubicBezTo>
                  <a:pt x="3069" y="1214"/>
                  <a:pt x="3036" y="1237"/>
                  <a:pt x="3038" y="1263"/>
                </a:cubicBezTo>
                <a:cubicBezTo>
                  <a:pt x="3040" y="1277"/>
                  <a:pt x="3050" y="1290"/>
                  <a:pt x="3068" y="1299"/>
                </a:cubicBezTo>
                <a:lnTo>
                  <a:pt x="2956" y="1299"/>
                </a:lnTo>
                <a:lnTo>
                  <a:pt x="2956" y="1611"/>
                </a:lnTo>
                <a:lnTo>
                  <a:pt x="2593" y="1611"/>
                </a:lnTo>
                <a:lnTo>
                  <a:pt x="3110" y="454"/>
                </a:lnTo>
                <a:close/>
                <a:moveTo>
                  <a:pt x="875" y="961"/>
                </a:moveTo>
                <a:lnTo>
                  <a:pt x="1406" y="2147"/>
                </a:lnTo>
                <a:lnTo>
                  <a:pt x="1119" y="2147"/>
                </a:lnTo>
                <a:lnTo>
                  <a:pt x="1119" y="1689"/>
                </a:lnTo>
                <a:lnTo>
                  <a:pt x="952" y="1689"/>
                </a:lnTo>
                <a:cubicBezTo>
                  <a:pt x="981" y="1674"/>
                  <a:pt x="998" y="1652"/>
                  <a:pt x="998" y="1629"/>
                </a:cubicBezTo>
                <a:lnTo>
                  <a:pt x="997" y="1621"/>
                </a:lnTo>
                <a:cubicBezTo>
                  <a:pt x="990" y="1582"/>
                  <a:pt x="938" y="1553"/>
                  <a:pt x="875" y="1552"/>
                </a:cubicBezTo>
                <a:cubicBezTo>
                  <a:pt x="871" y="1552"/>
                  <a:pt x="867" y="1552"/>
                  <a:pt x="863" y="1552"/>
                </a:cubicBezTo>
                <a:cubicBezTo>
                  <a:pt x="795" y="1556"/>
                  <a:pt x="744" y="1591"/>
                  <a:pt x="748" y="1633"/>
                </a:cubicBezTo>
                <a:cubicBezTo>
                  <a:pt x="750" y="1655"/>
                  <a:pt x="766" y="1675"/>
                  <a:pt x="794" y="1689"/>
                </a:cubicBezTo>
                <a:lnTo>
                  <a:pt x="619" y="1689"/>
                </a:lnTo>
                <a:lnTo>
                  <a:pt x="619" y="2147"/>
                </a:lnTo>
                <a:lnTo>
                  <a:pt x="344" y="2147"/>
                </a:lnTo>
                <a:lnTo>
                  <a:pt x="875" y="96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374077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6" name="Rectangle 2"/>
          <p:cNvSpPr>
            <a:spLocks noChangeArrowheads="1"/>
          </p:cNvSpPr>
          <p:nvPr/>
        </p:nvSpPr>
        <p:spPr bwMode="auto">
          <a:xfrm>
            <a:off x="2351088" y="115888"/>
            <a:ext cx="2806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chemeClr val="bg1"/>
                </a:solidFill>
              </a:rPr>
              <a:t>CHEM 462: 9. Atom Economy 1</a:t>
            </a:r>
          </a:p>
        </p:txBody>
      </p:sp>
      <p:sp>
        <p:nvSpPr>
          <p:cNvPr id="54277" name="Rectangle 3"/>
          <p:cNvSpPr>
            <a:spLocks noGrp="1" noChangeArrowheads="1"/>
          </p:cNvSpPr>
          <p:nvPr>
            <p:ph type="title" idx="4294967295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US" altLang="en-US"/>
              <a:t>Atom economy</a:t>
            </a:r>
          </a:p>
        </p:txBody>
      </p:sp>
      <p:sp>
        <p:nvSpPr>
          <p:cNvPr id="54278" name="Rectangle 8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1919290" y="3573463"/>
            <a:ext cx="4100511" cy="4679950"/>
          </a:xfrm>
          <a:noFill/>
        </p:spPr>
        <p:txBody>
          <a:bodyPr/>
          <a:lstStyle/>
          <a:p>
            <a:pPr eaLnBrk="1" hangingPunct="1"/>
            <a:r>
              <a:rPr lang="en-US" altLang="en-US" sz="2000" dirty="0"/>
              <a:t>Atom economy is among the green principles</a:t>
            </a:r>
          </a:p>
          <a:p>
            <a:pPr eaLnBrk="1" hangingPunct="1"/>
            <a:r>
              <a:rPr lang="en-US" altLang="en-US" sz="2000" dirty="0"/>
              <a:t>Atom economy is often used as a generic term now in chemistry to talk about this idea of maximizing atoms from SM into products </a:t>
            </a:r>
          </a:p>
          <a:p>
            <a:pPr eaLnBrk="1" hangingPunct="1">
              <a:buFont typeface="Wingdings" panose="05000000000000000000" pitchFamily="2" charset="2"/>
              <a:buNone/>
            </a:pPr>
            <a:endParaRPr lang="en-US" altLang="en-US" dirty="0"/>
          </a:p>
        </p:txBody>
      </p:sp>
      <p:sp>
        <p:nvSpPr>
          <p:cNvPr id="54279" name="Rectangle 7"/>
          <p:cNvSpPr>
            <a:spLocks noChangeArrowheads="1"/>
          </p:cNvSpPr>
          <p:nvPr/>
        </p:nvSpPr>
        <p:spPr bwMode="auto">
          <a:xfrm>
            <a:off x="2667000" y="1746759"/>
            <a:ext cx="6781800" cy="1200329"/>
          </a:xfrm>
          <a:prstGeom prst="rect">
            <a:avLst/>
          </a:prstGeom>
          <a:solidFill>
            <a:srgbClr val="CCFF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buClr>
                <a:schemeClr val="bg2"/>
              </a:buClr>
              <a:buSzPct val="75000"/>
              <a:buFont typeface="Wingdings" panose="05000000000000000000" pitchFamily="2" charset="2"/>
              <a:buNone/>
            </a:pPr>
            <a:r>
              <a:rPr lang="en-US" altLang="en-US" sz="2400" dirty="0"/>
              <a:t>Atom economy demands to minimize the quantity of matter that will not be in the desired product at the end.</a:t>
            </a:r>
            <a:r>
              <a:rPr lang="en-US" altLang="en-US" dirty="0"/>
              <a:t> </a:t>
            </a:r>
          </a:p>
        </p:txBody>
      </p:sp>
      <p:sp>
        <p:nvSpPr>
          <p:cNvPr id="8" name="Rectangle 7"/>
          <p:cNvSpPr/>
          <p:nvPr/>
        </p:nvSpPr>
        <p:spPr>
          <a:xfrm>
            <a:off x="1626612" y="6474024"/>
            <a:ext cx="83555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Moores A. “Atom economy, principles and a few examples."  in Green Catalysis (2009) Wiley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6949" y="3621321"/>
            <a:ext cx="4174362" cy="2226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097024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6316753" y="4293276"/>
          <a:ext cx="3888404" cy="1749002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9442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442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7402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Reagen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M</a:t>
                      </a:r>
                      <a:r>
                        <a:rPr lang="en-US" sz="1800" baseline="-25000" dirty="0"/>
                        <a:t>W</a:t>
                      </a:r>
                      <a:r>
                        <a:rPr lang="en-US" sz="1800" baseline="0" dirty="0"/>
                        <a:t> (g mol</a:t>
                      </a:r>
                      <a:r>
                        <a:rPr lang="en-US" sz="1800" baseline="30000" dirty="0"/>
                        <a:t>-1</a:t>
                      </a:r>
                      <a:r>
                        <a:rPr lang="en-US" sz="1800" baseline="0" dirty="0"/>
                        <a:t>)</a:t>
                      </a:r>
                      <a:endParaRPr lang="en-US" sz="18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1 (Reactant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74.12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2 (Reactant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102.91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3 (Reactant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98.08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4 (Desired Product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137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497190" y="2614562"/>
            <a:ext cx="933767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CH</a:t>
            </a:r>
            <a:r>
              <a:rPr lang="en-US" sz="2400" baseline="-25000" dirty="0"/>
              <a:t>3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b="1" dirty="0">
                <a:solidFill>
                  <a:srgbClr val="FF0000"/>
                </a:solidFill>
              </a:rPr>
              <a:t>OH</a:t>
            </a:r>
            <a:r>
              <a:rPr lang="en-US" sz="2400" dirty="0"/>
              <a:t> + </a:t>
            </a:r>
            <a:r>
              <a:rPr lang="en-US" sz="2400" dirty="0" err="1"/>
              <a:t>NaBr</a:t>
            </a:r>
            <a:r>
              <a:rPr lang="en-US" sz="2400" dirty="0"/>
              <a:t> + H</a:t>
            </a:r>
            <a:r>
              <a:rPr lang="en-US" sz="2400" baseline="-25000" dirty="0"/>
              <a:t>2</a:t>
            </a:r>
            <a:r>
              <a:rPr lang="en-US" sz="2400" dirty="0"/>
              <a:t>SO</a:t>
            </a:r>
            <a:r>
              <a:rPr lang="en-US" sz="2400" baseline="-25000" dirty="0"/>
              <a:t>4</a:t>
            </a:r>
            <a:r>
              <a:rPr lang="en-US" sz="2400" dirty="0"/>
              <a:t> </a:t>
            </a:r>
            <a:r>
              <a:rPr lang="en-US" sz="2400" dirty="0">
                <a:sym typeface="Wingdings"/>
              </a:rPr>
              <a:t> </a:t>
            </a:r>
            <a:r>
              <a:rPr lang="en-US" sz="2400" dirty="0"/>
              <a:t>CH</a:t>
            </a:r>
            <a:r>
              <a:rPr lang="en-US" sz="2400" baseline="-25000" dirty="0"/>
              <a:t>3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dirty="0"/>
              <a:t>CH</a:t>
            </a:r>
            <a:r>
              <a:rPr lang="en-US" sz="2400" baseline="-25000" dirty="0"/>
              <a:t>2</a:t>
            </a:r>
            <a:r>
              <a:rPr lang="en-US" sz="2400" b="1" dirty="0">
                <a:solidFill>
                  <a:srgbClr val="FF0000"/>
                </a:solidFill>
              </a:rPr>
              <a:t>Br</a:t>
            </a:r>
            <a:r>
              <a:rPr lang="en-US" sz="2400" dirty="0"/>
              <a:t>  +  NaHSO</a:t>
            </a:r>
            <a:r>
              <a:rPr lang="en-US" sz="2400" baseline="-25000" dirty="0"/>
              <a:t>4    </a:t>
            </a:r>
            <a:r>
              <a:rPr lang="en-US" sz="2400" dirty="0"/>
              <a:t>+ H</a:t>
            </a:r>
            <a:r>
              <a:rPr lang="en-US" sz="2400" baseline="-25000" dirty="0"/>
              <a:t>2</a:t>
            </a:r>
            <a:r>
              <a:rPr lang="en-US" sz="2400" dirty="0"/>
              <a:t>O</a:t>
            </a:r>
          </a:p>
          <a:p>
            <a:r>
              <a:rPr lang="en-US" dirty="0"/>
              <a:t>	 1                                2               3                                 4                                    5                     6</a:t>
            </a:r>
            <a:r>
              <a:rPr lang="en-US" sz="2000" dirty="0"/>
              <a:t>			                                                     </a:t>
            </a:r>
            <a:r>
              <a:rPr lang="en-US" sz="1600" dirty="0"/>
              <a:t>(Desired Product)  </a:t>
            </a:r>
            <a:endParaRPr lang="en-US" sz="2000" dirty="0"/>
          </a:p>
        </p:txBody>
      </p:sp>
      <p:sp>
        <p:nvSpPr>
          <p:cNvPr id="9" name="Right Brace 8"/>
          <p:cNvSpPr/>
          <p:nvPr/>
        </p:nvSpPr>
        <p:spPr>
          <a:xfrm>
            <a:off x="10270154" y="4673600"/>
            <a:ext cx="150725" cy="101599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0420879" y="4983111"/>
            <a:ext cx="16722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275.11 g mol</a:t>
            </a:r>
            <a:r>
              <a:rPr lang="en-US" sz="2000" baseline="30000" dirty="0"/>
              <a:t>-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/>
              <p:cNvSpPr txBox="1"/>
              <p:nvPr/>
            </p:nvSpPr>
            <p:spPr>
              <a:xfrm>
                <a:off x="732449" y="4451049"/>
                <a:ext cx="5433579" cy="111363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𝐴𝑡𝑜𝑚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𝐸𝑐𝑜𝑛𝑜𝑚𝑦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 </m:t>
                      </m:r>
                      <m:f>
                        <m:f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137</m:t>
                          </m:r>
                        </m:num>
                        <m:den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74.12+102.91+98.08</m:t>
                              </m:r>
                            </m:e>
                          </m:d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𝑥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 100%</m:t>
                      </m:r>
                    </m:oMath>
                  </m:oMathPara>
                </a14:m>
                <a:endParaRPr lang="en-US" i="1" dirty="0">
                  <a:latin typeface="Cambria Math" panose="02040503050406030204" pitchFamily="18" charset="0"/>
                </a:endParaRPr>
              </a:p>
              <a:p>
                <a:endParaRPr lang="en-US" i="1" dirty="0">
                  <a:latin typeface="Cambria Math" panose="020405030504060302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i="1">
                          <a:latin typeface="Cambria Math" panose="02040503050406030204" pitchFamily="18" charset="0"/>
                        </a:rPr>
                        <m:t>𝐴𝑡𝑜𝑚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𝐸𝑐𝑜𝑛𝑜𝑚𝑦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=49.8 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2" name="TextBox 1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2449" y="4451049"/>
                <a:ext cx="5433579" cy="1113638"/>
              </a:xfrm>
              <a:prstGeom prst="rect">
                <a:avLst/>
              </a:prstGeom>
              <a:blipFill>
                <a:blip r:embed="rId3"/>
                <a:stretch>
                  <a:fillRect l="-1399" t="-1124" b="-786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8200" y="239964"/>
            <a:ext cx="10515600" cy="646331"/>
          </a:xfrm>
        </p:spPr>
        <p:txBody>
          <a:bodyPr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tom Economy: Example On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723717" y="1955143"/>
            <a:ext cx="648621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/>
              <a:t>	*including the stoichiometric coefficient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58142E7-6017-47E5-8771-BEAFBCEFF171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BD67D7ED-AA37-B54A-B072-85A2936ABC74}"/>
                  </a:ext>
                </a:extLst>
              </p:cNvPr>
              <p:cNvSpPr/>
              <p:nvPr/>
            </p:nvSpPr>
            <p:spPr>
              <a:xfrm>
                <a:off x="2471355" y="1564474"/>
                <a:ext cx="4974439" cy="49956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dirty="0"/>
                  <a:t>	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>
                        <a:latin typeface="Cambria Math" charset="0"/>
                      </a:rPr>
                      <m:t>Atom</m:t>
                    </m:r>
                    <m:r>
                      <a:rPr lang="en-US" i="1">
                        <a:latin typeface="Cambria Math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>
                        <a:latin typeface="Cambria Math" charset="0"/>
                      </a:rPr>
                      <m:t>Economy</m:t>
                    </m:r>
                    <m:r>
                      <a:rPr lang="en-US" i="1">
                        <a:latin typeface="Cambria Math" charset="0"/>
                      </a:rPr>
                      <m:t>=</m:t>
                    </m:r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M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ass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of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desired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product</m:t>
                        </m:r>
                        <m:r>
                          <a:rPr lang="en-US" i="1">
                            <a:latin typeface="Cambria Math" charset="0"/>
                          </a:rPr>
                          <m:t>∗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M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panose="02040503050406030204" pitchFamily="18" charset="0"/>
                          </a:rPr>
                          <m:t>ass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of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all</m:t>
                        </m:r>
                        <m:r>
                          <a:rPr lang="en-US" i="1">
                            <a:latin typeface="Cambria Math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en-US">
                            <a:latin typeface="Cambria Math" charset="0"/>
                          </a:rPr>
                          <m:t>reactants</m:t>
                        </m:r>
                        <m:r>
                          <a:rPr lang="en-US" i="1">
                            <a:latin typeface="Cambria Math" charset="0"/>
                          </a:rPr>
                          <m:t>∗</m:t>
                        </m:r>
                      </m:den>
                    </m:f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BD67D7ED-AA37-B54A-B072-85A2936ABC7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1355" y="1564474"/>
                <a:ext cx="4974439" cy="499560"/>
              </a:xfrm>
              <a:prstGeom prst="rect">
                <a:avLst/>
              </a:prstGeom>
              <a:blipFill>
                <a:blip r:embed="rId4"/>
                <a:stretch>
                  <a:fillRect b="-1219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1214375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4608" y="215287"/>
            <a:ext cx="11402785" cy="646331"/>
          </a:xfrm>
        </p:spPr>
        <p:txBody>
          <a:bodyPr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tom Economy Example Two: Ibuprofen Synthesis</a:t>
            </a:r>
          </a:p>
        </p:txBody>
      </p:sp>
      <p:sp>
        <p:nvSpPr>
          <p:cNvPr id="4" name="Rectangle 3"/>
          <p:cNvSpPr/>
          <p:nvPr/>
        </p:nvSpPr>
        <p:spPr>
          <a:xfrm>
            <a:off x="783772" y="6466453"/>
            <a:ext cx="825265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- from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Cann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M.C.; and Connelly, M.E. Real World Cases in Green Chemistry, American Chemical Society: Washington, DC, 2000</a:t>
            </a:r>
            <a:endParaRPr lang="en-US" sz="1200" dirty="0">
              <a:solidFill>
                <a:schemeClr val="bg1">
                  <a:lumMod val="50000"/>
                </a:schemeClr>
              </a:solidFill>
              <a:effectLst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91350" y="1677803"/>
            <a:ext cx="4800598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i="1" dirty="0">
                <a:ea typeface="Calibri" charset="0"/>
                <a:cs typeface="Times New Roman" charset="0"/>
              </a:rPr>
              <a:t>The Problem: </a:t>
            </a:r>
            <a:endParaRPr lang="en-US" b="1" dirty="0">
              <a:ea typeface="Calibri" charset="0"/>
              <a:cs typeface="Times New Roman" charset="0"/>
            </a:endParaRPr>
          </a:p>
          <a:p>
            <a:pPr algn="just"/>
            <a:r>
              <a:rPr lang="en-US" dirty="0">
                <a:ea typeface="Calibri" charset="0"/>
                <a:cs typeface="Times New Roman" charset="0"/>
              </a:rPr>
              <a:t>The traditional industrial synthesis of ibuprofen was developed and patented by the Boots Company of England in the 1960s (U.S. Patent 3,385,886). This synthesis is </a:t>
            </a:r>
            <a:r>
              <a:rPr lang="en-US" b="1" dirty="0">
                <a:solidFill>
                  <a:srgbClr val="00B0F0"/>
                </a:solidFill>
                <a:ea typeface="Calibri" charset="0"/>
                <a:cs typeface="Times New Roman" charset="0"/>
              </a:rPr>
              <a:t>a six-step process </a:t>
            </a:r>
            <a:r>
              <a:rPr lang="en-US" dirty="0">
                <a:ea typeface="Calibri" charset="0"/>
                <a:cs typeface="Times New Roman" charset="0"/>
              </a:rPr>
              <a:t>and </a:t>
            </a:r>
            <a:r>
              <a:rPr lang="en-US" b="1" dirty="0">
                <a:solidFill>
                  <a:srgbClr val="00B0F0"/>
                </a:solidFill>
                <a:ea typeface="Calibri" charset="0"/>
                <a:cs typeface="Times New Roman" charset="0"/>
              </a:rPr>
              <a:t>results in large quantities of unwanted waste </a:t>
            </a:r>
            <a:r>
              <a:rPr lang="en-US" dirty="0">
                <a:ea typeface="Calibri" charset="0"/>
                <a:cs typeface="Times New Roman" charset="0"/>
              </a:rPr>
              <a:t>chemical byproducts that must be disposed of or otherwise managed. Much of the waste that is generated is a result of </a:t>
            </a:r>
            <a:r>
              <a:rPr lang="en-US" b="1" dirty="0">
                <a:solidFill>
                  <a:srgbClr val="00B0F0"/>
                </a:solidFill>
                <a:ea typeface="Calibri" charset="0"/>
                <a:cs typeface="Times New Roman" charset="0"/>
              </a:rPr>
              <a:t>many of the atoms of the reactants not being incorporated into the desired product</a:t>
            </a:r>
            <a:r>
              <a:rPr lang="en-US" dirty="0">
                <a:ea typeface="Calibri" charset="0"/>
                <a:cs typeface="Times New Roman" charset="0"/>
              </a:rPr>
              <a:t> (ibuprofen) but into unwanted byproducts (poor atom economy/atom utilization). The process also uses a variety of solvents, and catalysts (if any) are not used in stoichiometric amounts.</a:t>
            </a:r>
          </a:p>
        </p:txBody>
      </p:sp>
      <p:sp>
        <p:nvSpPr>
          <p:cNvPr id="6" name="Rectangle 5"/>
          <p:cNvSpPr/>
          <p:nvPr/>
        </p:nvSpPr>
        <p:spPr>
          <a:xfrm>
            <a:off x="6438899" y="1677803"/>
            <a:ext cx="48006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i="1" dirty="0">
                <a:ea typeface="Calibri" charset="0"/>
                <a:cs typeface="Times New Roman" charset="0"/>
              </a:rPr>
              <a:t>The Solution:</a:t>
            </a:r>
          </a:p>
          <a:p>
            <a:pPr algn="just"/>
            <a:r>
              <a:rPr lang="en-US" dirty="0">
                <a:ea typeface="Calibri" charset="0"/>
                <a:cs typeface="Times New Roman" charset="0"/>
              </a:rPr>
              <a:t>The BHC Company has developed and implemented a new greener industrial </a:t>
            </a:r>
            <a:r>
              <a:rPr lang="en-US" b="1" dirty="0">
                <a:solidFill>
                  <a:srgbClr val="00B0F0"/>
                </a:solidFill>
                <a:ea typeface="Calibri" charset="0"/>
                <a:cs typeface="Times New Roman" charset="0"/>
              </a:rPr>
              <a:t>synthesis of ibuprofen that is only three steps</a:t>
            </a:r>
            <a:r>
              <a:rPr lang="en-US" dirty="0">
                <a:ea typeface="Calibri" charset="0"/>
                <a:cs typeface="Times New Roman" charset="0"/>
              </a:rPr>
              <a:t> (U.S. Patents 4,981,995 and 5,068,448, both issued in 1991). In this process, </a:t>
            </a:r>
            <a:r>
              <a:rPr lang="en-US" b="1" dirty="0">
                <a:solidFill>
                  <a:srgbClr val="00B0F0"/>
                </a:solidFill>
                <a:ea typeface="Calibri" charset="0"/>
                <a:cs typeface="Times New Roman" charset="0"/>
              </a:rPr>
              <a:t>most of the atoms of the reactants are incorporated into the desired product </a:t>
            </a:r>
            <a:r>
              <a:rPr lang="en-US" dirty="0">
                <a:ea typeface="Calibri" charset="0"/>
                <a:cs typeface="Times New Roman" charset="0"/>
              </a:rPr>
              <a:t>(ibuprofen). This results in only small amounts of unwanted byproducts (very good atom economy/atom utilization) thus lessening the need for disposal and mediation of waste products. There are other environmental advantages to the green synthesis versus the brown synthesis, including solvents and catalyst.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D058292-1984-4B3B-8DC1-BC9998341B18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3315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731" y="217579"/>
            <a:ext cx="5284155" cy="6454587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6664" y="124661"/>
            <a:ext cx="3175152" cy="664042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027821" y="2783151"/>
            <a:ext cx="228690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Ibuprofen</a:t>
            </a:r>
          </a:p>
          <a:p>
            <a:pPr algn="ctr"/>
            <a:r>
              <a:rPr lang="en-US" sz="4000" b="1" dirty="0"/>
              <a:t>Synthesis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554804" y="1387011"/>
            <a:ext cx="1880171" cy="61645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rown synthesi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6736493" y="1385298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HC synthesis</a:t>
            </a:r>
          </a:p>
        </p:txBody>
      </p:sp>
    </p:spTree>
    <p:extLst>
      <p:ext uri="{BB962C8B-B14F-4D97-AF65-F5344CB8AC3E}">
        <p14:creationId xmlns:p14="http://schemas.microsoft.com/office/powerpoint/2010/main" val="33517595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75BDFD8-4B64-4B29-8048-99B1D368F0CA}"/>
              </a:ext>
            </a:extLst>
          </p:cNvPr>
          <p:cNvSpPr txBox="1"/>
          <p:nvPr/>
        </p:nvSpPr>
        <p:spPr>
          <a:xfrm>
            <a:off x="1133664" y="1370005"/>
            <a:ext cx="7271991" cy="36009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marR="0" lvl="0" indent="-5143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Conventional chemistry metrics</a:t>
            </a:r>
          </a:p>
          <a:p>
            <a:pPr marL="971550" lvl="1" indent="-514350" defTabSz="457200">
              <a:buFont typeface="Arial" charset="0"/>
              <a:buChar char="•"/>
            </a:pPr>
            <a:r>
              <a:rPr lang="en-US" sz="2400" dirty="0">
                <a:solidFill>
                  <a:prstClr val="black"/>
                </a:solidFill>
              </a:rPr>
              <a:t>Yield</a:t>
            </a:r>
          </a:p>
          <a:p>
            <a:pPr marL="971550" lvl="1" indent="-514350" defTabSz="457200">
              <a:buFont typeface="Arial" charset="0"/>
              <a:buChar char="•"/>
            </a:pPr>
            <a:r>
              <a:rPr lang="en-US" sz="2400" dirty="0"/>
              <a:t>Selectivity</a:t>
            </a:r>
          </a:p>
          <a:p>
            <a:pPr marL="971550" lvl="1" indent="-514350" defTabSz="457200">
              <a:buFont typeface="Arial" charset="0"/>
              <a:buChar char="•"/>
            </a:pPr>
            <a:r>
              <a:rPr lang="en-US" sz="2400" dirty="0"/>
              <a:t>Conversion</a:t>
            </a:r>
          </a:p>
          <a:p>
            <a:pPr marL="514350" indent="-514350" defTabSz="457200"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Why do we need metrics in green chemistry?</a:t>
            </a:r>
          </a:p>
          <a:p>
            <a:pPr marL="514350" marR="0" lvl="0" indent="-5143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Metrics in Green Chemistry</a:t>
            </a:r>
          </a:p>
          <a:p>
            <a:pPr marL="971550" lvl="1" indent="-514350" defTabSz="457200">
              <a:buFont typeface="Arial" charset="0"/>
              <a:buChar char="•"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tom Economy</a:t>
            </a:r>
          </a:p>
          <a:p>
            <a:pPr marL="971550" lvl="1" indent="-514350" defTabSz="457200">
              <a:buFont typeface="Arial" charset="0"/>
              <a:buChar char="•"/>
            </a:pPr>
            <a:r>
              <a:rPr lang="en-US" sz="2400" dirty="0"/>
              <a:t>Environmental (E) Factor</a:t>
            </a:r>
          </a:p>
          <a:p>
            <a:pPr marL="971550" lvl="1" indent="-514350" defTabSz="457200">
              <a:buFont typeface="Arial" charset="0"/>
              <a:buChar char="•"/>
            </a:pPr>
            <a:r>
              <a:rPr lang="en-US" sz="2400" dirty="0"/>
              <a:t>Process Mass Intensity (PMI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785992" y="156411"/>
            <a:ext cx="46200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/>
              <a:t>Topics To Be Covered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17352989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0831" y="148974"/>
            <a:ext cx="8090338" cy="999697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ercise: Calculate AE of the Greener Synthesis of Ibuprofen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749753" y="2034189"/>
            <a:ext cx="10692493" cy="4044600"/>
            <a:chOff x="661307" y="2140300"/>
            <a:chExt cx="10692493" cy="4044600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1307" y="2140300"/>
              <a:ext cx="10692493" cy="4044600"/>
            </a:xfrm>
            <a:prstGeom prst="rect">
              <a:avLst/>
            </a:prstGeom>
          </p:spPr>
        </p:pic>
        <p:sp>
          <p:nvSpPr>
            <p:cNvPr id="5" name="Rectangle 4"/>
            <p:cNvSpPr/>
            <p:nvPr/>
          </p:nvSpPr>
          <p:spPr>
            <a:xfrm>
              <a:off x="4158343" y="3048000"/>
              <a:ext cx="5998028" cy="1447800"/>
            </a:xfrm>
            <a:prstGeom prst="rect">
              <a:avLst/>
            </a:prstGeom>
            <a:solidFill>
              <a:srgbClr val="EAF2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/>
            <p:cNvSpPr/>
            <p:nvPr/>
          </p:nvSpPr>
          <p:spPr>
            <a:xfrm>
              <a:off x="4354285" y="4616450"/>
              <a:ext cx="5998028" cy="787050"/>
            </a:xfrm>
            <a:prstGeom prst="rect">
              <a:avLst/>
            </a:prstGeom>
            <a:solidFill>
              <a:srgbClr val="F0F7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3624942" y="5596164"/>
              <a:ext cx="6825344" cy="423635"/>
            </a:xfrm>
            <a:prstGeom prst="rect">
              <a:avLst/>
            </a:prstGeom>
            <a:solidFill>
              <a:srgbClr val="F7F9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0E52E72-6033-4577-9E99-37837FA8921C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ounded Rectangle 9"/>
          <p:cNvSpPr/>
          <p:nvPr/>
        </p:nvSpPr>
        <p:spPr>
          <a:xfrm>
            <a:off x="9921482" y="317375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HC synthesis</a:t>
            </a:r>
          </a:p>
        </p:txBody>
      </p:sp>
    </p:spTree>
    <p:extLst>
      <p:ext uri="{BB962C8B-B14F-4D97-AF65-F5344CB8AC3E}">
        <p14:creationId xmlns:p14="http://schemas.microsoft.com/office/powerpoint/2010/main" val="42473086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4442732" y="3048000"/>
            <a:ext cx="6096001" cy="2971799"/>
            <a:chOff x="4354285" y="3048000"/>
            <a:chExt cx="6096001" cy="2971799"/>
          </a:xfrm>
        </p:grpSpPr>
        <p:sp>
          <p:nvSpPr>
            <p:cNvPr id="5" name="Rectangle 4"/>
            <p:cNvSpPr/>
            <p:nvPr/>
          </p:nvSpPr>
          <p:spPr>
            <a:xfrm>
              <a:off x="5617029" y="3048000"/>
              <a:ext cx="4539342" cy="1447800"/>
            </a:xfrm>
            <a:prstGeom prst="rect">
              <a:avLst/>
            </a:prstGeom>
            <a:solidFill>
              <a:srgbClr val="EAF2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/>
            <p:cNvSpPr/>
            <p:nvPr/>
          </p:nvSpPr>
          <p:spPr>
            <a:xfrm>
              <a:off x="4354285" y="4616450"/>
              <a:ext cx="5998028" cy="787050"/>
            </a:xfrm>
            <a:prstGeom prst="rect">
              <a:avLst/>
            </a:prstGeom>
            <a:solidFill>
              <a:srgbClr val="F0F7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8001000" y="5596164"/>
              <a:ext cx="2449286" cy="423635"/>
            </a:xfrm>
            <a:prstGeom prst="rect">
              <a:avLst/>
            </a:prstGeom>
            <a:solidFill>
              <a:srgbClr val="F7F9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" name="Title 1">
            <a:extLst>
              <a:ext uri="{FF2B5EF4-FFF2-40B4-BE49-F238E27FC236}">
                <a16:creationId xmlns:a16="http://schemas.microsoft.com/office/drawing/2014/main" id="{92F0277A-13B7-4D57-98B3-C22588B84A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0831" y="148974"/>
            <a:ext cx="8090338" cy="999697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ercise: Calculate AE of the Greener Synthesis of Ibuprofe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A63E107-E352-49F4-ABB4-FA9170489251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46B1111-AD5B-465C-BE4F-8DF522A8063E}"/>
              </a:ext>
            </a:extLst>
          </p:cNvPr>
          <p:cNvGrpSpPr/>
          <p:nvPr/>
        </p:nvGrpSpPr>
        <p:grpSpPr>
          <a:xfrm>
            <a:off x="749753" y="2034189"/>
            <a:ext cx="10692493" cy="4044600"/>
            <a:chOff x="661307" y="2140300"/>
            <a:chExt cx="10692493" cy="40446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4D3FF76-EEA9-44CF-875B-B9878A8563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61307" y="2140300"/>
              <a:ext cx="10692493" cy="4044600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6A84723-CC33-4869-A750-05C95126114B}"/>
                </a:ext>
              </a:extLst>
            </p:cNvPr>
            <p:cNvSpPr/>
            <p:nvPr/>
          </p:nvSpPr>
          <p:spPr>
            <a:xfrm>
              <a:off x="5265249" y="3017906"/>
              <a:ext cx="5847705" cy="1447800"/>
            </a:xfrm>
            <a:prstGeom prst="rect">
              <a:avLst/>
            </a:prstGeom>
            <a:solidFill>
              <a:srgbClr val="EAF2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EC01CF0-4760-4B8C-8E83-15D6A52008C1}"/>
                </a:ext>
              </a:extLst>
            </p:cNvPr>
            <p:cNvSpPr/>
            <p:nvPr/>
          </p:nvSpPr>
          <p:spPr>
            <a:xfrm>
              <a:off x="4354285" y="4616450"/>
              <a:ext cx="5998028" cy="787050"/>
            </a:xfrm>
            <a:prstGeom prst="rect">
              <a:avLst/>
            </a:prstGeom>
            <a:solidFill>
              <a:srgbClr val="F0F7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0A3DD2-4BFA-447A-BBE3-6B30FFF9BD9A}"/>
                </a:ext>
              </a:extLst>
            </p:cNvPr>
            <p:cNvSpPr/>
            <p:nvPr/>
          </p:nvSpPr>
          <p:spPr>
            <a:xfrm>
              <a:off x="8001001" y="5578943"/>
              <a:ext cx="2714911" cy="423635"/>
            </a:xfrm>
            <a:prstGeom prst="rect">
              <a:avLst/>
            </a:prstGeom>
            <a:solidFill>
              <a:srgbClr val="F7F9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7" name="Rounded Rectangle 16"/>
          <p:cNvSpPr/>
          <p:nvPr/>
        </p:nvSpPr>
        <p:spPr>
          <a:xfrm>
            <a:off x="9921482" y="317375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HC synthesis</a:t>
            </a:r>
          </a:p>
        </p:txBody>
      </p:sp>
    </p:spTree>
    <p:extLst>
      <p:ext uri="{BB962C8B-B14F-4D97-AF65-F5344CB8AC3E}">
        <p14:creationId xmlns:p14="http://schemas.microsoft.com/office/powerpoint/2010/main" val="29894253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A1EDACD7-383D-400E-9D88-0EFA283E04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753" y="2034189"/>
            <a:ext cx="10692493" cy="4044600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4438506" y="4484103"/>
            <a:ext cx="6096001" cy="1403349"/>
            <a:chOff x="4354285" y="4616450"/>
            <a:chExt cx="6096001" cy="1403349"/>
          </a:xfrm>
        </p:grpSpPr>
        <p:sp>
          <p:nvSpPr>
            <p:cNvPr id="6" name="Rectangle 5"/>
            <p:cNvSpPr/>
            <p:nvPr/>
          </p:nvSpPr>
          <p:spPr>
            <a:xfrm>
              <a:off x="4354285" y="4616450"/>
              <a:ext cx="5998028" cy="787050"/>
            </a:xfrm>
            <a:prstGeom prst="rect">
              <a:avLst/>
            </a:prstGeom>
            <a:solidFill>
              <a:srgbClr val="F0F7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/>
          </p:nvSpPr>
          <p:spPr>
            <a:xfrm>
              <a:off x="8001000" y="5596164"/>
              <a:ext cx="2449286" cy="423635"/>
            </a:xfrm>
            <a:prstGeom prst="rect">
              <a:avLst/>
            </a:prstGeom>
            <a:solidFill>
              <a:srgbClr val="F7F9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8AF7F987-5F4C-4F65-A098-5922A0157F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0831" y="148974"/>
            <a:ext cx="8090338" cy="999697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ercise: Calculate AE of the Greener Synthesis of Ibuprofe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3B64950-BEC4-4AEF-B7D4-B02AE4249782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9921482" y="317375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HC synthesis</a:t>
            </a:r>
          </a:p>
        </p:txBody>
      </p:sp>
    </p:spTree>
    <p:extLst>
      <p:ext uri="{BB962C8B-B14F-4D97-AF65-F5344CB8AC3E}">
        <p14:creationId xmlns:p14="http://schemas.microsoft.com/office/powerpoint/2010/main" val="30735490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FBE23183-B201-4CCB-AAD3-7468E5E97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0831" y="148974"/>
            <a:ext cx="8090338" cy="999697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ercise: Calculate AE of the Greener Synthesis of Ibuprofe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0794F0-AAA5-4991-89A7-1C551AB0B0EC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08805627-EBA4-4E68-88F9-5F05F46A57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753" y="2034189"/>
            <a:ext cx="10692493" cy="4044600"/>
          </a:xfrm>
          <a:prstGeom prst="rect">
            <a:avLst/>
          </a:prstGeom>
        </p:spPr>
      </p:pic>
      <p:sp>
        <p:nvSpPr>
          <p:cNvPr id="5" name="Rounded Rectangle 4"/>
          <p:cNvSpPr/>
          <p:nvPr/>
        </p:nvSpPr>
        <p:spPr>
          <a:xfrm>
            <a:off x="9921482" y="317375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HC synthesis</a:t>
            </a:r>
          </a:p>
        </p:txBody>
      </p:sp>
    </p:spTree>
    <p:extLst>
      <p:ext uri="{BB962C8B-B14F-4D97-AF65-F5344CB8AC3E}">
        <p14:creationId xmlns:p14="http://schemas.microsoft.com/office/powerpoint/2010/main" val="9548028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516" y="1915014"/>
            <a:ext cx="11031851" cy="4083014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47397" y="180526"/>
            <a:ext cx="10497207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The Brown Synthesis of Ibuprofe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1C93E1-4198-4C08-B237-7DC9C2B6DB4E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/>
          <p:cNvSpPr/>
          <p:nvPr/>
        </p:nvSpPr>
        <p:spPr>
          <a:xfrm>
            <a:off x="9986480" y="302784"/>
            <a:ext cx="1880171" cy="61645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rown synthesis</a:t>
            </a:r>
          </a:p>
        </p:txBody>
      </p:sp>
    </p:spTree>
    <p:extLst>
      <p:ext uri="{BB962C8B-B14F-4D97-AF65-F5344CB8AC3E}">
        <p14:creationId xmlns:p14="http://schemas.microsoft.com/office/powerpoint/2010/main" val="754797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731" y="217579"/>
            <a:ext cx="5284155" cy="6454587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6664" y="124661"/>
            <a:ext cx="3175152" cy="664042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027821" y="2783151"/>
            <a:ext cx="228690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Ibuprofen</a:t>
            </a:r>
          </a:p>
          <a:p>
            <a:pPr algn="ctr"/>
            <a:r>
              <a:rPr lang="en-US" sz="4000" b="1" dirty="0"/>
              <a:t>Synthesis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554804" y="1387011"/>
            <a:ext cx="1880171" cy="61645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rown synthesi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6736493" y="1385298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HC synthesis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554804" y="2154148"/>
            <a:ext cx="1880171" cy="616450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E=40%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6736493" y="2152435"/>
            <a:ext cx="1880171" cy="616450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E=77%</a:t>
            </a:r>
          </a:p>
        </p:txBody>
      </p:sp>
    </p:spTree>
    <p:extLst>
      <p:ext uri="{BB962C8B-B14F-4D97-AF65-F5344CB8AC3E}">
        <p14:creationId xmlns:p14="http://schemas.microsoft.com/office/powerpoint/2010/main" val="41591550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23310" y="136772"/>
            <a:ext cx="8145379" cy="999697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i="0" dirty="0">
                <a:solidFill>
                  <a:srgbClr val="000000"/>
                </a:solidFill>
                <a:effectLst/>
                <a:latin typeface="+mn-lt"/>
              </a:rPr>
              <a:t>Green </a:t>
            </a:r>
            <a:r>
              <a:rPr lang="en-US" sz="3600" b="1" dirty="0">
                <a:solidFill>
                  <a:srgbClr val="000000"/>
                </a:solidFill>
                <a:latin typeface="+mn-lt"/>
              </a:rPr>
              <a:t>C</a:t>
            </a:r>
            <a:r>
              <a:rPr lang="en-US" sz="3600" b="1" i="0" dirty="0">
                <a:solidFill>
                  <a:srgbClr val="000000"/>
                </a:solidFill>
                <a:effectLst/>
                <a:latin typeface="+mn-lt"/>
              </a:rPr>
              <a:t>hemistry-Related Metrics </a:t>
            </a:r>
            <a:r>
              <a:rPr lang="en-US" sz="3600" b="1" dirty="0">
                <a:solidFill>
                  <a:srgbClr val="000000"/>
                </a:solidFill>
                <a:latin typeface="+mn-lt"/>
              </a:rPr>
              <a:t>U</a:t>
            </a:r>
            <a:r>
              <a:rPr lang="en-US" sz="3600" b="1" i="0" dirty="0">
                <a:solidFill>
                  <a:srgbClr val="000000"/>
                </a:solidFill>
                <a:effectLst/>
                <a:latin typeface="+mn-lt"/>
              </a:rPr>
              <a:t>sed in Chemical </a:t>
            </a:r>
            <a:r>
              <a:rPr lang="en-US" sz="3600" b="1" dirty="0">
                <a:solidFill>
                  <a:srgbClr val="000000"/>
                </a:solidFill>
                <a:latin typeface="+mn-lt"/>
              </a:rPr>
              <a:t>M</a:t>
            </a:r>
            <a:r>
              <a:rPr lang="en-US" sz="3600" b="1" i="0" dirty="0">
                <a:solidFill>
                  <a:srgbClr val="000000"/>
                </a:solidFill>
                <a:effectLst/>
                <a:latin typeface="+mn-lt"/>
              </a:rPr>
              <a:t>anufacturing</a:t>
            </a:r>
            <a:endParaRPr lang="en-US" sz="3600" b="1" dirty="0">
              <a:latin typeface="+mn-lt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609"/>
          <a:stretch/>
        </p:blipFill>
        <p:spPr>
          <a:xfrm>
            <a:off x="228272" y="1944889"/>
            <a:ext cx="6707208" cy="4076020"/>
          </a:xfrm>
        </p:spPr>
      </p:pic>
      <p:sp>
        <p:nvSpPr>
          <p:cNvPr id="4" name="Rectangle 3"/>
          <p:cNvSpPr/>
          <p:nvPr/>
        </p:nvSpPr>
        <p:spPr>
          <a:xfrm>
            <a:off x="7367067" y="1944889"/>
            <a:ext cx="4587368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0" i="0" dirty="0">
                <a:solidFill>
                  <a:srgbClr val="000000"/>
                </a:solidFill>
                <a:effectLst/>
              </a:rPr>
              <a:t>Chemical manufacturer responses (</a:t>
            </a:r>
            <a:r>
              <a:rPr lang="en-US" b="0" i="1" dirty="0">
                <a:solidFill>
                  <a:srgbClr val="000000"/>
                </a:solidFill>
                <a:effectLst/>
              </a:rPr>
              <a:t>n</a:t>
            </a:r>
            <a:r>
              <a:rPr lang="en-US" b="0" i="0" dirty="0">
                <a:solidFill>
                  <a:srgbClr val="000000"/>
                </a:solidFill>
                <a:effectLst/>
              </a:rPr>
              <a:t> = 18) to the 2012 Roundtable survey question </a:t>
            </a:r>
            <a:r>
              <a:rPr lang="en-US" b="1" i="0" dirty="0">
                <a:solidFill>
                  <a:srgbClr val="000000"/>
                </a:solidFill>
                <a:effectLst/>
              </a:rPr>
              <a:t>“What green chemistry and engineering related metrics does your company use? Select all that apply.”</a:t>
            </a:r>
            <a:r>
              <a:rPr lang="en-US" b="0" i="0" dirty="0">
                <a:solidFill>
                  <a:srgbClr val="000000"/>
                </a:solidFill>
                <a:effectLst/>
              </a:rPr>
              <a:t> </a:t>
            </a:r>
          </a:p>
          <a:p>
            <a:endParaRPr lang="en-US" dirty="0">
              <a:solidFill>
                <a:srgbClr val="000000"/>
              </a:solidFill>
            </a:endParaRPr>
          </a:p>
          <a:p>
            <a:r>
              <a:rPr lang="en-US" b="0" i="0" dirty="0">
                <a:solidFill>
                  <a:srgbClr val="000000"/>
                </a:solidFill>
                <a:effectLst/>
              </a:rPr>
              <a:t>Percentage of respondents indicating one or more metrics surveyed in use computed as the ratio of [total responses – (not sure + none)]/(total responses). PMI = process mass intensity = (mass of raw materials)/(mass of final product).E-factor = (mass of waste)/mass of final product).LCA = life cycle assessment.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66484" y="6365985"/>
            <a:ext cx="95501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Implementing Green Chemistry in Chemical Manufacturing: A Survey Report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Robert J. Giraud, Paul A. Williams, Amit Sehgal,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Ettigounde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Ponnusamy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Alan K. Phillips, and Julie B. Manley, 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ACS Sustainable Chemistry &amp; Engineering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2014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 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2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 (10), 2237-2242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FE4D758-4FA2-4438-A3D7-692BC2CB23E5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477039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375BDFD8-4B64-4B29-8048-99B1D368F0CA}"/>
              </a:ext>
            </a:extLst>
          </p:cNvPr>
          <p:cNvSpPr txBox="1"/>
          <p:nvPr/>
        </p:nvSpPr>
        <p:spPr>
          <a:xfrm>
            <a:off x="1133664" y="1370005"/>
            <a:ext cx="7271991" cy="36009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14350" marR="0" lvl="0" indent="-5143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Conventional chemistry metrics</a:t>
            </a:r>
          </a:p>
          <a:p>
            <a:pPr marL="971550" lvl="1" indent="-514350" defTabSz="457200">
              <a:buFont typeface="Arial" charset="0"/>
              <a:buChar char="•"/>
            </a:pPr>
            <a:r>
              <a:rPr lang="en-US" sz="2400" dirty="0">
                <a:solidFill>
                  <a:prstClr val="black"/>
                </a:solidFill>
              </a:rPr>
              <a:t>Yield</a:t>
            </a:r>
          </a:p>
          <a:p>
            <a:pPr marL="971550" lvl="1" indent="-514350" defTabSz="457200">
              <a:buFont typeface="Arial" charset="0"/>
              <a:buChar char="•"/>
            </a:pPr>
            <a:r>
              <a:rPr lang="en-US" sz="2400" dirty="0"/>
              <a:t>Selectivity</a:t>
            </a:r>
          </a:p>
          <a:p>
            <a:pPr marL="971550" lvl="1" indent="-514350" defTabSz="457200">
              <a:buFont typeface="Arial" charset="0"/>
              <a:buChar char="•"/>
            </a:pPr>
            <a:r>
              <a:rPr lang="en-US" sz="2400" dirty="0"/>
              <a:t>Conversion</a:t>
            </a:r>
          </a:p>
          <a:p>
            <a:pPr marL="514350" indent="-514350" defTabSz="457200">
              <a:buFont typeface="+mj-lt"/>
              <a:buAutoNum type="arabicPeriod"/>
              <a:defRPr/>
            </a:pPr>
            <a:r>
              <a:rPr lang="en-US" sz="2800" dirty="0">
                <a:solidFill>
                  <a:prstClr val="black"/>
                </a:solidFill>
              </a:rPr>
              <a:t>Why do we need metrics in green chemistry?</a:t>
            </a:r>
          </a:p>
          <a:p>
            <a:pPr marL="514350" marR="0" lvl="0" indent="-5143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Metrics in Green Chemistry</a:t>
            </a:r>
          </a:p>
          <a:p>
            <a:pPr marL="971550" lvl="1" indent="-514350" defTabSz="457200">
              <a:buFont typeface="Arial" charset="0"/>
              <a:buChar char="•"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tom Economy</a:t>
            </a:r>
          </a:p>
          <a:p>
            <a:pPr marL="971550" lvl="1" indent="-514350" defTabSz="457200">
              <a:buFont typeface="Arial" charset="0"/>
              <a:buChar char="•"/>
            </a:pPr>
            <a:r>
              <a:rPr lang="en-US" sz="2400" dirty="0"/>
              <a:t>Environmental (E) Factor</a:t>
            </a:r>
          </a:p>
          <a:p>
            <a:pPr marL="971550" lvl="1" indent="-514350" defTabSz="457200">
              <a:buFont typeface="Arial" charset="0"/>
              <a:buChar char="•"/>
            </a:pPr>
            <a:r>
              <a:rPr lang="en-US" sz="2400" dirty="0"/>
              <a:t>Process Mass Intensity (PMI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785992" y="156411"/>
            <a:ext cx="46200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/>
              <a:t>Topics To Be Covered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26267256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53345" y="2701636"/>
            <a:ext cx="37822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/>
              <a:t>QUESTIONS?</a:t>
            </a:r>
            <a:endParaRPr lang="en-US" sz="4800" dirty="0"/>
          </a:p>
        </p:txBody>
      </p:sp>
      <p:sp>
        <p:nvSpPr>
          <p:cNvPr id="3" name="TextBox 2"/>
          <p:cNvSpPr txBox="1"/>
          <p:nvPr/>
        </p:nvSpPr>
        <p:spPr>
          <a:xfrm>
            <a:off x="990599" y="110836"/>
            <a:ext cx="83404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Sponsored by Yale-UNIDO Initiative</a:t>
            </a:r>
          </a:p>
        </p:txBody>
      </p:sp>
      <p:sp>
        <p:nvSpPr>
          <p:cNvPr id="4" name="Rectangle 3"/>
          <p:cNvSpPr/>
          <p:nvPr/>
        </p:nvSpPr>
        <p:spPr>
          <a:xfrm>
            <a:off x="2036618" y="4954158"/>
            <a:ext cx="466205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r>
              <a:rPr lang="en-US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48000" y="282883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effectLst/>
              <a:latin typeface="Times New Roman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3314" y="5212194"/>
            <a:ext cx="1020198" cy="1496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5636" y="5831321"/>
            <a:ext cx="3810000" cy="990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35636" y="4446658"/>
            <a:ext cx="4064000" cy="12192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5671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16065"/>
            <a:ext cx="10515600" cy="646331"/>
          </a:xfrm>
        </p:spPr>
        <p:txBody>
          <a:bodyPr>
            <a:spAutoFit/>
          </a:bodyPr>
          <a:lstStyle/>
          <a:p>
            <a:pPr algn="ctr"/>
            <a:r>
              <a:rPr lang="en-US" altLang="x-none" sz="4000" b="1" dirty="0">
                <a:latin typeface="+mn-lt"/>
              </a:rPr>
              <a:t>Conventional Metrics: Yield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47058036"/>
              </p:ext>
            </p:extLst>
          </p:nvPr>
        </p:nvGraphicFramePr>
        <p:xfrm>
          <a:off x="2024063" y="3305175"/>
          <a:ext cx="7143750" cy="2921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2" name="CS ChemDraw Drawing" r:id="rId5" imgW="3561391" imgH="1455068" progId="ChemDraw.Document.6.0">
                  <p:embed/>
                </p:oleObj>
              </mc:Choice>
              <mc:Fallback>
                <p:oleObj name="CS ChemDraw Drawing" r:id="rId5" imgW="3561391" imgH="1455068" progId="ChemDraw.Document.6.0">
                  <p:embed/>
                  <p:pic>
                    <p:nvPicPr>
                      <p:cNvPr id="5633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4063" y="3305175"/>
                        <a:ext cx="7143750" cy="29210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1550411" y="6336268"/>
            <a:ext cx="83555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The Algebra of Organic Synthesis: Green Metrics, Design Strategy, Route Selection, and Optimization, J.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Andraos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2011, CRC Press</a:t>
            </a:r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1318365"/>
              </p:ext>
            </p:extLst>
          </p:nvPr>
        </p:nvGraphicFramePr>
        <p:xfrm>
          <a:off x="2470150" y="1549401"/>
          <a:ext cx="7107238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3" name="CS ChemDraw Drawing" r:id="rId7" imgW="3544482" imgH="720735" progId="ChemDraw.Document.6.0">
                  <p:embed/>
                </p:oleObj>
              </mc:Choice>
              <mc:Fallback>
                <p:oleObj name="CS ChemDraw Drawing" r:id="rId7" imgW="3544482" imgH="720735" progId="ChemDraw.Document.6.0">
                  <p:embed/>
                  <p:pic>
                    <p:nvPicPr>
                      <p:cNvPr id="14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0150" y="1549401"/>
                        <a:ext cx="7107238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81031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16065"/>
            <a:ext cx="10515600" cy="646331"/>
          </a:xfrm>
        </p:spPr>
        <p:txBody>
          <a:bodyPr>
            <a:spAutoFit/>
          </a:bodyPr>
          <a:lstStyle/>
          <a:p>
            <a:pPr algn="ctr"/>
            <a:r>
              <a:rPr lang="en-US" altLang="x-none" sz="4000" b="1" dirty="0">
                <a:latin typeface="+mn-lt"/>
              </a:rPr>
              <a:t>By-product vs side produc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937571" y="2056874"/>
            <a:ext cx="3633778" cy="3992889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214171" y="3087321"/>
            <a:ext cx="2057400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Target molecule</a:t>
            </a:r>
            <a:endParaRPr lang="en-CA" dirty="0"/>
          </a:p>
        </p:txBody>
      </p:sp>
      <p:sp>
        <p:nvSpPr>
          <p:cNvPr id="13" name="TextBox 12"/>
          <p:cNvSpPr txBox="1"/>
          <p:nvPr/>
        </p:nvSpPr>
        <p:spPr>
          <a:xfrm>
            <a:off x="3404171" y="1587938"/>
            <a:ext cx="6324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int the </a:t>
            </a:r>
            <a:r>
              <a:rPr lang="en-US" b="1" dirty="0"/>
              <a:t>side product</a:t>
            </a:r>
            <a:r>
              <a:rPr lang="en-US" dirty="0"/>
              <a:t>, and the </a:t>
            </a:r>
            <a:r>
              <a:rPr lang="en-US" b="1" dirty="0"/>
              <a:t>by product</a:t>
            </a:r>
            <a:endParaRPr lang="en-CA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2642171" y="2950963"/>
            <a:ext cx="1181100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Starting material</a:t>
            </a:r>
            <a:endParaRPr lang="en-CA" dirty="0"/>
          </a:p>
        </p:txBody>
      </p:sp>
      <p:sp>
        <p:nvSpPr>
          <p:cNvPr id="15" name="TextBox 14"/>
          <p:cNvSpPr txBox="1"/>
          <p:nvPr/>
        </p:nvSpPr>
        <p:spPr>
          <a:xfrm>
            <a:off x="7571349" y="5058247"/>
            <a:ext cx="2057400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Side product</a:t>
            </a:r>
            <a:endParaRPr lang="en-CA" dirty="0"/>
          </a:p>
        </p:txBody>
      </p:sp>
      <p:sp>
        <p:nvSpPr>
          <p:cNvPr id="16" name="TextBox 15"/>
          <p:cNvSpPr txBox="1"/>
          <p:nvPr/>
        </p:nvSpPr>
        <p:spPr>
          <a:xfrm>
            <a:off x="5067300" y="5964701"/>
            <a:ext cx="2057400" cy="369332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By product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1219157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16065"/>
            <a:ext cx="10515600" cy="646331"/>
          </a:xfrm>
        </p:spPr>
        <p:txBody>
          <a:bodyPr>
            <a:spAutoFit/>
          </a:bodyPr>
          <a:lstStyle/>
          <a:p>
            <a:pPr algn="ctr"/>
            <a:r>
              <a:rPr lang="en-US" altLang="x-none" sz="4000" b="1" dirty="0">
                <a:latin typeface="+mn-lt"/>
              </a:rPr>
              <a:t>By-product vs side produc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Content Placeholder 2"/>
          <p:cNvSpPr>
            <a:spLocks noGrp="1"/>
          </p:cNvSpPr>
          <p:nvPr>
            <p:ph sz="quarter"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r>
              <a:rPr lang="en-US" b="1" dirty="0"/>
              <a:t>By-product </a:t>
            </a:r>
            <a:r>
              <a:rPr lang="en-US" dirty="0"/>
              <a:t>of a reaction: a product formed in the reaction between reagents as a </a:t>
            </a:r>
            <a:r>
              <a:rPr lang="en-US" u="sng" dirty="0"/>
              <a:t>direct mechanistic consequence of producing the target product </a:t>
            </a:r>
            <a:r>
              <a:rPr lang="en-US" dirty="0"/>
              <a:t>assuming a balanced chemical equation that accounts for the production of the target product</a:t>
            </a:r>
          </a:p>
          <a:p>
            <a:r>
              <a:rPr lang="en-US" b="1" dirty="0"/>
              <a:t>Side-product </a:t>
            </a:r>
            <a:r>
              <a:rPr lang="en-US" dirty="0"/>
              <a:t>of a reaction: a product formed in the reaction, usually </a:t>
            </a:r>
            <a:r>
              <a:rPr lang="en-US" u="sng" dirty="0"/>
              <a:t>undesired</a:t>
            </a:r>
            <a:r>
              <a:rPr lang="en-US" dirty="0"/>
              <a:t>, arising form a </a:t>
            </a:r>
            <a:r>
              <a:rPr lang="en-US" u="sng" dirty="0"/>
              <a:t>competing reaction pathway </a:t>
            </a:r>
            <a:r>
              <a:rPr lang="en-US" dirty="0"/>
              <a:t>other than the one that produces the intended target product (+ by-products)</a:t>
            </a:r>
          </a:p>
          <a:p>
            <a:endParaRPr lang="en-CA" dirty="0"/>
          </a:p>
        </p:txBody>
      </p:sp>
      <p:sp>
        <p:nvSpPr>
          <p:cNvPr id="18" name="Rectangle 17"/>
          <p:cNvSpPr/>
          <p:nvPr/>
        </p:nvSpPr>
        <p:spPr>
          <a:xfrm>
            <a:off x="1550411" y="6336268"/>
            <a:ext cx="83555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The Algebra of Organic Synthesis: Green Metrics, Design Strategy, Route Selection, and Optimization, J. </a:t>
            </a:r>
            <a:r>
              <a:rPr lang="en-US" sz="1400" dirty="0" err="1"/>
              <a:t>Andraos</a:t>
            </a:r>
            <a:r>
              <a:rPr lang="en-US" sz="1400" dirty="0"/>
              <a:t>, 2011, CRC Press</a:t>
            </a:r>
          </a:p>
        </p:txBody>
      </p:sp>
    </p:spTree>
    <p:extLst>
      <p:ext uri="{BB962C8B-B14F-4D97-AF65-F5344CB8AC3E}">
        <p14:creationId xmlns:p14="http://schemas.microsoft.com/office/powerpoint/2010/main" val="23868229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16065"/>
            <a:ext cx="10515600" cy="646331"/>
          </a:xfrm>
        </p:spPr>
        <p:txBody>
          <a:bodyPr>
            <a:spAutoFit/>
          </a:bodyPr>
          <a:lstStyle/>
          <a:p>
            <a:pPr algn="ctr"/>
            <a:r>
              <a:rPr lang="en-US" altLang="x-none" sz="4000" b="1" dirty="0">
                <a:latin typeface="+mn-lt"/>
              </a:rPr>
              <a:t>Conventional Metrics: Selectivity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68406041"/>
              </p:ext>
            </p:extLst>
          </p:nvPr>
        </p:nvGraphicFramePr>
        <p:xfrm>
          <a:off x="1735138" y="3778250"/>
          <a:ext cx="7723187" cy="19748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6" name="CS ChemDraw Drawing" r:id="rId5" imgW="3849358" imgH="984162" progId="ChemDraw.Document.6.0">
                  <p:embed/>
                </p:oleObj>
              </mc:Choice>
              <mc:Fallback>
                <p:oleObj name="CS ChemDraw Drawing" r:id="rId5" imgW="3849358" imgH="984162" progId="ChemDraw.Document.6.0">
                  <p:embed/>
                  <p:pic>
                    <p:nvPicPr>
                      <p:cNvPr id="5633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35138" y="3778250"/>
                        <a:ext cx="7723187" cy="19748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>
          <a:xfrm>
            <a:off x="1626612" y="6474024"/>
            <a:ext cx="83555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Calv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‐Flores, F.G. "Sustainable chemistry metrics."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ChemSusChe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2.10 (2009): 905-919.</a:t>
            </a:r>
          </a:p>
        </p:txBody>
      </p:sp>
      <p:graphicFrame>
        <p:nvGraphicFramePr>
          <p:cNvPr id="8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1318365"/>
              </p:ext>
            </p:extLst>
          </p:nvPr>
        </p:nvGraphicFramePr>
        <p:xfrm>
          <a:off x="2470150" y="1549401"/>
          <a:ext cx="7107238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7" name="CS ChemDraw Drawing" r:id="rId7" imgW="3544482" imgH="720735" progId="ChemDraw.Document.6.0">
                  <p:embed/>
                </p:oleObj>
              </mc:Choice>
              <mc:Fallback>
                <p:oleObj name="CS ChemDraw Drawing" r:id="rId7" imgW="3544482" imgH="720735" progId="ChemDraw.Document.6.0">
                  <p:embed/>
                  <p:pic>
                    <p:nvPicPr>
                      <p:cNvPr id="14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0150" y="1549401"/>
                        <a:ext cx="7107238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7580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16065"/>
            <a:ext cx="10515600" cy="646331"/>
          </a:xfrm>
        </p:spPr>
        <p:txBody>
          <a:bodyPr>
            <a:spAutoFit/>
          </a:bodyPr>
          <a:lstStyle/>
          <a:p>
            <a:pPr algn="ctr"/>
            <a:r>
              <a:rPr lang="en-US" altLang="x-none" sz="4000" b="1" dirty="0">
                <a:latin typeface="+mn-lt"/>
              </a:rPr>
              <a:t>Conventional Metrics: Convers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89658821"/>
              </p:ext>
            </p:extLst>
          </p:nvPr>
        </p:nvGraphicFramePr>
        <p:xfrm>
          <a:off x="1577975" y="4017963"/>
          <a:ext cx="8437563" cy="962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0" name="CS ChemDraw Drawing" r:id="rId5" imgW="4206043" imgH="479666" progId="ChemDraw.Document.6.0">
                  <p:embed/>
                </p:oleObj>
              </mc:Choice>
              <mc:Fallback>
                <p:oleObj name="CS ChemDraw Drawing" r:id="rId5" imgW="4206043" imgH="479666" progId="ChemDraw.Document.6.0">
                  <p:embed/>
                  <p:pic>
                    <p:nvPicPr>
                      <p:cNvPr id="56330" name="Object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77975" y="4017963"/>
                        <a:ext cx="8437563" cy="962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1626612" y="6474024"/>
            <a:ext cx="83555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Calv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‐Flores, F.G. "Sustainable chemistry metrics."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ChemSusChe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2.10 (2009): 905-919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543300" y="5527030"/>
            <a:ext cx="5105400" cy="369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/>
              <a:t>Yield = Conversion x Selectivity</a:t>
            </a:r>
            <a:endParaRPr lang="en-CA" dirty="0"/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1318365"/>
              </p:ext>
            </p:extLst>
          </p:nvPr>
        </p:nvGraphicFramePr>
        <p:xfrm>
          <a:off x="2470150" y="1549401"/>
          <a:ext cx="7107238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1" name="CS ChemDraw Drawing" r:id="rId7" imgW="3544482" imgH="720735" progId="ChemDraw.Document.6.0">
                  <p:embed/>
                </p:oleObj>
              </mc:Choice>
              <mc:Fallback>
                <p:oleObj name="CS ChemDraw Drawing" r:id="rId7" imgW="3544482" imgH="720735" progId="ChemDraw.Document.6.0">
                  <p:embed/>
                  <p:pic>
                    <p:nvPicPr>
                      <p:cNvPr id="14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0150" y="1549401"/>
                        <a:ext cx="7107238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728655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16065"/>
            <a:ext cx="10515600" cy="646331"/>
          </a:xfrm>
        </p:spPr>
        <p:txBody>
          <a:bodyPr>
            <a:spAutoFit/>
          </a:bodyPr>
          <a:lstStyle/>
          <a:p>
            <a:pPr algn="ctr"/>
            <a:r>
              <a:rPr lang="en-US" altLang="x-none" sz="4000" b="1" dirty="0">
                <a:latin typeface="+mn-lt"/>
              </a:rPr>
              <a:t>How good are these classic metrics?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127DBC7-1206-4C49-B0E0-BCB45AF7BBEB}"/>
              </a:ext>
            </a:extLst>
          </p:cNvPr>
          <p:cNvCxnSpPr>
            <a:cxnSpLocks/>
          </p:cNvCxnSpPr>
          <p:nvPr/>
        </p:nvCxnSpPr>
        <p:spPr>
          <a:xfrm>
            <a:off x="0" y="1136469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C:\Program Files\Microsoft Office\MEDIA\CAGCAT10\j0300840.wm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7455" y="216065"/>
            <a:ext cx="1814513" cy="152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1981200" y="1600200"/>
            <a:ext cx="8458200" cy="48737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How does classic metrics assess the following issues:</a:t>
            </a:r>
          </a:p>
          <a:p>
            <a:pPr lvl="1"/>
            <a:r>
              <a:rPr lang="en-US" dirty="0"/>
              <a:t>The reaction is not quantitative</a:t>
            </a:r>
          </a:p>
          <a:p>
            <a:pPr lvl="1"/>
            <a:r>
              <a:rPr lang="en-US" dirty="0"/>
              <a:t>There are unreacted starting materials </a:t>
            </a:r>
          </a:p>
          <a:p>
            <a:pPr lvl="1"/>
            <a:r>
              <a:rPr lang="en-US" dirty="0"/>
              <a:t>I have some side product </a:t>
            </a:r>
          </a:p>
          <a:p>
            <a:pPr lvl="1"/>
            <a:r>
              <a:rPr lang="en-US" dirty="0"/>
              <a:t>I produce by products</a:t>
            </a:r>
          </a:p>
          <a:p>
            <a:pPr lvl="1"/>
            <a:r>
              <a:rPr lang="en-US" dirty="0"/>
              <a:t>I’m using solvent (in reaction, in work up)</a:t>
            </a:r>
          </a:p>
          <a:p>
            <a:pPr lvl="1"/>
            <a:r>
              <a:rPr lang="en-US" dirty="0"/>
              <a:t>I’m using a catalyst (is it recovered?)</a:t>
            </a:r>
          </a:p>
          <a:p>
            <a:pPr lvl="1"/>
            <a:r>
              <a:rPr lang="en-US" dirty="0"/>
              <a:t>I’m using auxiliaries</a:t>
            </a:r>
          </a:p>
          <a:p>
            <a:endParaRPr lang="en-CA" dirty="0"/>
          </a:p>
        </p:txBody>
      </p:sp>
      <p:graphicFrame>
        <p:nvGraphicFramePr>
          <p:cNvPr id="14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92836179"/>
              </p:ext>
            </p:extLst>
          </p:nvPr>
        </p:nvGraphicFramePr>
        <p:xfrm>
          <a:off x="2470150" y="1549401"/>
          <a:ext cx="7107238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3" name="CS ChemDraw Drawing" r:id="rId5" imgW="3544482" imgH="720735" progId="ChemDraw.Document.6.0">
                  <p:embed/>
                </p:oleObj>
              </mc:Choice>
              <mc:Fallback>
                <p:oleObj name="CS ChemDraw Drawing" r:id="rId5" imgW="3544482" imgH="720735" progId="ChemDraw.Document.6.0">
                  <p:embed/>
                  <p:pic>
                    <p:nvPicPr>
                      <p:cNvPr id="5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70150" y="1549401"/>
                        <a:ext cx="7107238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1626612" y="6474024"/>
            <a:ext cx="835558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Calv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‐Flores, F.G. "Sustainable chemistry metrics."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ChemSusChe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2.10 (2009): 905-919.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6" name="Ink 17"/>
              <p14:cNvContentPartPr>
                <a14:cpLocks xmlns:a14="http://schemas.microsoft.com/office/drawing/2010/main" noRot="1" noChangeAspect="1" noEditPoints="1" noChangeArrowheads="1" noChangeShapeType="1"/>
              </p14:cNvContentPartPr>
              <p14:nvPr/>
            </p14:nvContentPartPr>
            <p14:xfrm>
              <a:off x="5275264" y="3937000"/>
              <a:ext cx="3175" cy="6350"/>
            </p14:xfrm>
          </p:contentPart>
        </mc:Choice>
        <mc:Fallback xmlns="">
          <p:pic>
            <p:nvPicPr>
              <p:cNvPr id="16" name="Ink 17"/>
              <p:cNvPicPr>
                <a:picLocks noRot="1" noChangeAspect="1" noEditPoint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268120" y="3930650"/>
                <a:ext cx="17463" cy="19050"/>
              </a:xfrm>
              <a:prstGeom prst="rect">
                <a:avLst/>
              </a:prstGeom>
            </p:spPr>
          </p:pic>
        </mc:Fallback>
      </mc:AlternateContent>
      <p:pic>
        <p:nvPicPr>
          <p:cNvPr id="17" name="Picture 1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217" y="4769519"/>
            <a:ext cx="499486" cy="49948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1" y="3535681"/>
            <a:ext cx="479425" cy="479425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7288" y="5161280"/>
            <a:ext cx="499486" cy="49948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0160" y="5555487"/>
            <a:ext cx="499486" cy="499486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2868" y="5943421"/>
            <a:ext cx="499486" cy="49948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9705" y="3949959"/>
            <a:ext cx="479425" cy="47942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494" y="4372045"/>
            <a:ext cx="479425" cy="479425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7211529" y="3542660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onversion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481612" y="4005005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onversio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645501" y="4447029"/>
            <a:ext cx="15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Selectivity</a:t>
            </a:r>
          </a:p>
        </p:txBody>
      </p:sp>
      <p:sp>
        <p:nvSpPr>
          <p:cNvPr id="27" name="Right Brace 26"/>
          <p:cNvSpPr/>
          <p:nvPr/>
        </p:nvSpPr>
        <p:spPr>
          <a:xfrm>
            <a:off x="8766774" y="4782408"/>
            <a:ext cx="476838" cy="1496473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Box 27"/>
          <p:cNvSpPr txBox="1"/>
          <p:nvPr/>
        </p:nvSpPr>
        <p:spPr>
          <a:xfrm>
            <a:off x="9299181" y="5068978"/>
            <a:ext cx="152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Need for Green Metrics</a:t>
            </a:r>
          </a:p>
        </p:txBody>
      </p:sp>
    </p:spTree>
    <p:extLst>
      <p:ext uri="{BB962C8B-B14F-4D97-AF65-F5344CB8AC3E}">
        <p14:creationId xmlns:p14="http://schemas.microsoft.com/office/powerpoint/2010/main" val="2369515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  <p:bldP spid="27" grpId="0" animBg="1"/>
      <p:bldP spid="2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green metrics</a:t>
            </a:r>
            <a:endParaRPr lang="en-CA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Material efficiency</a:t>
            </a:r>
          </a:p>
          <a:p>
            <a:pPr lvl="1"/>
            <a:r>
              <a:rPr lang="en-US" b="1" dirty="0"/>
              <a:t>E factor</a:t>
            </a:r>
          </a:p>
          <a:p>
            <a:pPr lvl="1"/>
            <a:r>
              <a:rPr lang="en-US" b="1" dirty="0"/>
              <a:t>Atom economy</a:t>
            </a:r>
          </a:p>
          <a:p>
            <a:pPr lvl="1"/>
            <a:r>
              <a:rPr lang="en-US" dirty="0"/>
              <a:t>Carbon efficiency</a:t>
            </a:r>
          </a:p>
          <a:p>
            <a:pPr lvl="1"/>
            <a:r>
              <a:rPr lang="en-US" dirty="0"/>
              <a:t>E factor based on molecular weight</a:t>
            </a:r>
          </a:p>
          <a:p>
            <a:pPr lvl="1"/>
            <a:r>
              <a:rPr lang="en-US" dirty="0"/>
              <a:t>Effective mass yield</a:t>
            </a:r>
          </a:p>
          <a:p>
            <a:pPr lvl="1"/>
            <a:r>
              <a:rPr lang="en-US" dirty="0"/>
              <a:t>Actual atom economy</a:t>
            </a:r>
          </a:p>
          <a:p>
            <a:pPr lvl="1"/>
            <a:r>
              <a:rPr lang="en-US" dirty="0"/>
              <a:t>Environmental quotient</a:t>
            </a:r>
          </a:p>
          <a:p>
            <a:pPr lvl="1"/>
            <a:r>
              <a:rPr lang="en-US" dirty="0"/>
              <a:t>Mass intensity</a:t>
            </a:r>
          </a:p>
          <a:p>
            <a:pPr lvl="1"/>
            <a:r>
              <a:rPr lang="en-US" dirty="0"/>
              <a:t>Material recovery parameter</a:t>
            </a:r>
          </a:p>
          <a:p>
            <a:pPr lvl="1"/>
            <a:r>
              <a:rPr lang="en-US" dirty="0"/>
              <a:t>Reaction mass efficiency</a:t>
            </a:r>
          </a:p>
          <a:p>
            <a:pPr lvl="1"/>
            <a:endParaRPr lang="en-CA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/>
              <a:t>Energy efficiency</a:t>
            </a:r>
          </a:p>
          <a:p>
            <a:pPr lvl="1"/>
            <a:r>
              <a:rPr lang="en-US" dirty="0"/>
              <a:t>Energy intensity</a:t>
            </a:r>
          </a:p>
          <a:p>
            <a:pPr lvl="1"/>
            <a:r>
              <a:rPr lang="en-US" dirty="0"/>
              <a:t>Waste treatment energy</a:t>
            </a:r>
          </a:p>
          <a:p>
            <a:pPr lvl="1"/>
            <a:r>
              <a:rPr lang="en-US" dirty="0"/>
              <a:t>Solvent recovery energy</a:t>
            </a:r>
            <a:endParaRPr lang="en-CA" dirty="0"/>
          </a:p>
        </p:txBody>
      </p:sp>
      <p:sp>
        <p:nvSpPr>
          <p:cNvPr id="7" name="Rectangle 6"/>
          <p:cNvSpPr/>
          <p:nvPr/>
        </p:nvSpPr>
        <p:spPr>
          <a:xfrm>
            <a:off x="1626612" y="6069450"/>
            <a:ext cx="835558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From: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Calvo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‐Flores, F.G. "Sustainable chemistry metrics." </a:t>
            </a:r>
            <a:r>
              <a:rPr lang="en-US" sz="1400" i="1" dirty="0" err="1">
                <a:solidFill>
                  <a:schemeClr val="bg1">
                    <a:lumMod val="50000"/>
                  </a:schemeClr>
                </a:solidFill>
              </a:rPr>
              <a:t>ChemSusChem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2.10 (2009): 905-919.</a:t>
            </a:r>
          </a:p>
          <a:p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If you want even more: 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The Algebra of Organic Synthesis: Green Metrics, Design Strategy, Route Selection, and Optimization, J. </a:t>
            </a:r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Andraos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, 2011, CRC Press</a:t>
            </a:r>
          </a:p>
          <a:p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  <a:p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9993" y="1825625"/>
            <a:ext cx="812698" cy="81269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0953" y="1727251"/>
            <a:ext cx="812698" cy="812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1074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57150">
          <a:defRPr sz="1400" dirty="0">
            <a:hlinkClick xmlns:r="http://schemas.openxmlformats.org/officeDocument/2006/relationships" r:id="" action="ppaction://noaction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112</TotalTime>
  <Words>1352</Words>
  <Application>Microsoft Office PowerPoint</Application>
  <PresentationFormat>Widescreen</PresentationFormat>
  <Paragraphs>233</Paragraphs>
  <Slides>28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6" baseType="lpstr">
      <vt:lpstr>Arial</vt:lpstr>
      <vt:lpstr>Calibri</vt:lpstr>
      <vt:lpstr>Calibri Light</vt:lpstr>
      <vt:lpstr>Cambria Math</vt:lpstr>
      <vt:lpstr>Times New Roman</vt:lpstr>
      <vt:lpstr>Wingdings</vt:lpstr>
      <vt:lpstr>Office Theme</vt:lpstr>
      <vt:lpstr>CS ChemDraw Drawing</vt:lpstr>
      <vt:lpstr>Yale-UNIDO Train-the-Facilitator Workshop in Green Chemistry</vt:lpstr>
      <vt:lpstr>PowerPoint Presentation</vt:lpstr>
      <vt:lpstr>Conventional Metrics: Yield</vt:lpstr>
      <vt:lpstr>By-product vs side product</vt:lpstr>
      <vt:lpstr>By-product vs side product</vt:lpstr>
      <vt:lpstr>Conventional Metrics: Selectivity</vt:lpstr>
      <vt:lpstr>Conventional Metrics: Conversion</vt:lpstr>
      <vt:lpstr>How good are these classic metrics?</vt:lpstr>
      <vt:lpstr>The green metrics</vt:lpstr>
      <vt:lpstr>E-factor</vt:lpstr>
      <vt:lpstr>E-factor</vt:lpstr>
      <vt:lpstr>Environmental Factor (E-Factor)</vt:lpstr>
      <vt:lpstr>E-Factor Example</vt:lpstr>
      <vt:lpstr>Process Mass intensity (PMI)</vt:lpstr>
      <vt:lpstr>Atom Efficiency/Economy (AE)</vt:lpstr>
      <vt:lpstr>Atom economy</vt:lpstr>
      <vt:lpstr>Atom Economy: Example One</vt:lpstr>
      <vt:lpstr>Atom Economy Example Two: Ibuprofen Synthesis</vt:lpstr>
      <vt:lpstr>PowerPoint Presentation</vt:lpstr>
      <vt:lpstr>Exercise: Calculate AE of the Greener Synthesis of Ibuprofen</vt:lpstr>
      <vt:lpstr>Exercise: Calculate AE of the Greener Synthesis of Ibuprofen</vt:lpstr>
      <vt:lpstr>Exercise: Calculate AE of the Greener Synthesis of Ibuprofen</vt:lpstr>
      <vt:lpstr>Exercise: Calculate AE of the Greener Synthesis of Ibuprofen</vt:lpstr>
      <vt:lpstr>The Brown Synthesis of Ibuprofen</vt:lpstr>
      <vt:lpstr>PowerPoint Presentation</vt:lpstr>
      <vt:lpstr>Green Chemistry-Related Metrics Used in Chemical Manufacturing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Mellor</dc:creator>
  <cp:lastModifiedBy>Chapman, Kimberly</cp:lastModifiedBy>
  <cp:revision>182</cp:revision>
  <dcterms:created xsi:type="dcterms:W3CDTF">2018-01-15T20:20:35Z</dcterms:created>
  <dcterms:modified xsi:type="dcterms:W3CDTF">2018-11-01T19:59:15Z</dcterms:modified>
</cp:coreProperties>
</file>